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ink/ink1.xml" ContentType="application/inkml+xml"/>
  <Override PartName="/ppt/ink/ink2.xml" ContentType="application/inkml+xml"/>
  <Override PartName="/ppt/ink/ink3.xml" ContentType="application/inkml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2.xml" ContentType="application/vnd.openxmlformats-officedocument.theme+xml"/>
  <Override PartName="/ppt/ink/ink4.xml" ContentType="application/inkml+xml"/>
  <Override PartName="/ppt/ink/ink5.xml" ContentType="application/inkml+xml"/>
  <Override PartName="/ppt/ink/ink6.xml" ContentType="application/inkml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theme/theme3.xml" ContentType="application/vnd.openxmlformats-officedocument.theme+xml"/>
  <Override PartName="/ppt/ink/ink7.xml" ContentType="application/inkml+xml"/>
  <Override PartName="/ppt/ink/ink8.xml" ContentType="application/inkml+xml"/>
  <Override PartName="/ppt/ink/ink9.xml" ContentType="application/inkml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theme/theme4.xml" ContentType="application/vnd.openxmlformats-officedocument.theme+xml"/>
  <Override PartName="/ppt/ink/ink10.xml" ContentType="application/inkml+xml"/>
  <Override PartName="/ppt/ink/ink11.xml" ContentType="application/inkml+xml"/>
  <Override PartName="/ppt/ink/ink12.xml" ContentType="application/inkml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937" r:id="rId4"/>
    <p:sldMasterId id="2147483994" r:id="rId5"/>
    <p:sldMasterId id="2147484045" r:id="rId6"/>
    <p:sldMasterId id="2147484095" r:id="rId7"/>
  </p:sldMasterIdLst>
  <p:notesMasterIdLst>
    <p:notesMasterId r:id="rId12"/>
  </p:notesMasterIdLst>
  <p:handoutMasterIdLst>
    <p:handoutMasterId r:id="rId13"/>
  </p:handoutMasterIdLst>
  <p:sldIdLst>
    <p:sldId id="3334" r:id="rId8"/>
    <p:sldId id="230717411" r:id="rId9"/>
    <p:sldId id="230717107" r:id="rId10"/>
    <p:sldId id="230717420" r:id="rId11"/>
  </p:sldIdLst>
  <p:sldSz cx="12188825" cy="6858000"/>
  <p:notesSz cx="6858000" cy="9144000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4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81E00"/>
    <a:srgbClr val="387C2C"/>
    <a:srgbClr val="AADB1E"/>
    <a:srgbClr val="6DB33F"/>
    <a:srgbClr val="006990"/>
    <a:srgbClr val="E6E6E6"/>
    <a:srgbClr val="7F35AB"/>
    <a:srgbClr val="7636AE"/>
    <a:srgbClr val="264088"/>
    <a:srgbClr val="B3B3B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E25E649-3F16-4E02-A733-19D2CDBF48F0}"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863" autoAdjust="0"/>
    <p:restoredTop sz="76208" autoAdjust="0"/>
  </p:normalViewPr>
  <p:slideViewPr>
    <p:cSldViewPr snapToGrid="0">
      <p:cViewPr varScale="1">
        <p:scale>
          <a:sx n="91" d="100"/>
          <a:sy n="91" d="100"/>
        </p:scale>
        <p:origin x="192" y="1984"/>
      </p:cViewPr>
      <p:guideLst/>
    </p:cSldViewPr>
  </p:slideViewPr>
  <p:outlineViewPr>
    <p:cViewPr>
      <p:scale>
        <a:sx n="33" d="100"/>
        <a:sy n="33" d="100"/>
      </p:scale>
      <p:origin x="0" y="-5118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Grid="0" showGuides="1">
      <p:cViewPr varScale="1">
        <p:scale>
          <a:sx n="59" d="100"/>
          <a:sy n="59" d="100"/>
        </p:scale>
        <p:origin x="2371" y="17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2.xml"/><Relationship Id="rId15" Type="http://schemas.openxmlformats.org/officeDocument/2006/relationships/commentAuthors" Target="commentAuthors.xml"/><Relationship Id="rId10" Type="http://schemas.openxmlformats.org/officeDocument/2006/relationships/slide" Target="slides/slide3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latin typeface="Metropolis" panose="00000500000000000000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004553-04C5-4BB3-AD4E-8B2EF3CDDAF9}" type="datetimeFigureOut">
              <a:rPr lang="en-US" smtClean="0">
                <a:latin typeface="Metropolis" panose="00000500000000000000" pitchFamily="50" charset="0"/>
              </a:rPr>
              <a:t>5/6/20</a:t>
            </a:fld>
            <a:endParaRPr lang="en-US">
              <a:latin typeface="Metropolis" panose="00000500000000000000" pitchFamily="50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Metropolis" panose="00000500000000000000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6A881F-0910-47D3-BD01-4F68834EC353}" type="slidenum">
              <a:rPr lang="en-US" smtClean="0">
                <a:latin typeface="Metropolis" panose="00000500000000000000" pitchFamily="50" charset="0"/>
              </a:rPr>
              <a:t>‹#›</a:t>
            </a:fld>
            <a:endParaRPr lang="en-US">
              <a:latin typeface="Metropolis" panose="000005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8667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18-01-18T15:55:36.535"/>
    </inkml:context>
    <inkml:brush xml:id="br0">
      <inkml:brushProperty name="width" value="0.03333" units="cm"/>
      <inkml:brushProperty name="height" value="0.03333" units="cm"/>
    </inkml:brush>
  </inkml:definitions>
  <inkml:trace contextRef="#ctx0" brushRef="#br0">13866 7577 4258 0 0,'0'0'-944'0'0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18-01-18T15:55:36.535"/>
    </inkml:context>
    <inkml:brush xml:id="br0">
      <inkml:brushProperty name="width" value="0.03333" units="cm"/>
      <inkml:brushProperty name="height" value="0.03333" units="cm"/>
    </inkml:brush>
  </inkml:definitions>
  <inkml:trace contextRef="#ctx0" brushRef="#br0">13866 7577 4258 0 0,'0'0'-944'0'0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18-01-18T15:55:36.535"/>
    </inkml:context>
    <inkml:brush xml:id="br0">
      <inkml:brushProperty name="width" value="0.03333" units="cm"/>
      <inkml:brushProperty name="height" value="0.03333" units="cm"/>
    </inkml:brush>
  </inkml:definitions>
  <inkml:trace contextRef="#ctx0" brushRef="#br0">13866 7577 4258 0 0,'0'0'-944'0'0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18-01-18T15:55:36.535"/>
    </inkml:context>
    <inkml:brush xml:id="br0">
      <inkml:brushProperty name="width" value="0.03333" units="cm"/>
      <inkml:brushProperty name="height" value="0.03333" units="cm"/>
    </inkml:brush>
  </inkml:definitions>
  <inkml:trace contextRef="#ctx0" brushRef="#br0">13866 7577 4258 0 0,'0'0'-944'0'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18-01-18T15:55:36.535"/>
    </inkml:context>
    <inkml:brush xml:id="br0">
      <inkml:brushProperty name="width" value="0.03333" units="cm"/>
      <inkml:brushProperty name="height" value="0.03333" units="cm"/>
    </inkml:brush>
  </inkml:definitions>
  <inkml:trace contextRef="#ctx0" brushRef="#br0">13866 7577 4258 0 0,'0'0'-944'0'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18-01-18T15:55:36.535"/>
    </inkml:context>
    <inkml:brush xml:id="br0">
      <inkml:brushProperty name="width" value="0.03333" units="cm"/>
      <inkml:brushProperty name="height" value="0.03333" units="cm"/>
    </inkml:brush>
  </inkml:definitions>
  <inkml:trace contextRef="#ctx0" brushRef="#br0">13866 7577 4258 0 0,'0'0'-944'0'0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18-01-18T15:55:36.535"/>
    </inkml:context>
    <inkml:brush xml:id="br0">
      <inkml:brushProperty name="width" value="0.03333" units="cm"/>
      <inkml:brushProperty name="height" value="0.03333" units="cm"/>
    </inkml:brush>
  </inkml:definitions>
  <inkml:trace contextRef="#ctx0" brushRef="#br0">13866 7577 4258 0 0,'0'0'-944'0'0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18-01-18T15:55:36.535"/>
    </inkml:context>
    <inkml:brush xml:id="br0">
      <inkml:brushProperty name="width" value="0.03333" units="cm"/>
      <inkml:brushProperty name="height" value="0.03333" units="cm"/>
    </inkml:brush>
  </inkml:definitions>
  <inkml:trace contextRef="#ctx0" brushRef="#br0">13866 7577 4258 0 0,'0'0'-944'0'0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18-01-18T15:55:36.535"/>
    </inkml:context>
    <inkml:brush xml:id="br0">
      <inkml:brushProperty name="width" value="0.03333" units="cm"/>
      <inkml:brushProperty name="height" value="0.03333" units="cm"/>
    </inkml:brush>
  </inkml:definitions>
  <inkml:trace contextRef="#ctx0" brushRef="#br0">13866 7577 4258 0 0,'0'0'-944'0'0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18-01-18T15:55:36.535"/>
    </inkml:context>
    <inkml:brush xml:id="br0">
      <inkml:brushProperty name="width" value="0.03333" units="cm"/>
      <inkml:brushProperty name="height" value="0.03333" units="cm"/>
    </inkml:brush>
  </inkml:definitions>
  <inkml:trace contextRef="#ctx0" brushRef="#br0">13866 7577 4258 0 0,'0'0'-944'0'0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18-01-18T15:55:36.535"/>
    </inkml:context>
    <inkml:brush xml:id="br0">
      <inkml:brushProperty name="width" value="0.03333" units="cm"/>
      <inkml:brushProperty name="height" value="0.03333" units="cm"/>
    </inkml:brush>
  </inkml:definitions>
  <inkml:trace contextRef="#ctx0" brushRef="#br0">13866 7577 4258 0 0,'0'0'-944'0'0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18-01-18T15:55:36.535"/>
    </inkml:context>
    <inkml:brush xml:id="br0">
      <inkml:brushProperty name="width" value="0.03333" units="cm"/>
      <inkml:brushProperty name="height" value="0.03333" units="cm"/>
    </inkml:brush>
  </inkml:definitions>
  <inkml:trace contextRef="#ctx0" brushRef="#br0">13866 7577 4258 0 0,'0'0'-944'0'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Metropolis" panose="00000500000000000000" pitchFamily="50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Metropolis" panose="00000500000000000000" pitchFamily="50" charset="0"/>
              </a:defRPr>
            </a:lvl1pPr>
          </a:lstStyle>
          <a:p>
            <a:fld id="{3CB6F0DB-E055-41D0-9102-627A646E4242}" type="datetimeFigureOut">
              <a:rPr lang="en-US" smtClean="0"/>
              <a:pPr/>
              <a:t>5/6/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88988" y="609600"/>
            <a:ext cx="5280025" cy="2971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457200" y="3810000"/>
            <a:ext cx="5943600" cy="48768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Metropolis" panose="00000500000000000000" pitchFamily="50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Metropolis" panose="00000500000000000000" pitchFamily="50" charset="0"/>
              </a:defRPr>
            </a:lvl1pPr>
          </a:lstStyle>
          <a:p>
            <a:fld id="{9F4FBC3A-A12C-40F9-BB8D-BC30C790139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29097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Metropolis" panose="00000500000000000000" pitchFamily="50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Metropolis" panose="00000500000000000000" pitchFamily="50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Metropolis" panose="00000500000000000000" pitchFamily="50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Metropolis" panose="00000500000000000000" pitchFamily="50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Metropolis" panose="00000500000000000000" pitchFamily="50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4FBC3A-A12C-40F9-BB8D-BC30C7901396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61732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4FBC3A-A12C-40F9-BB8D-BC30C790139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717074"/>
                </a:solidFill>
                <a:effectLst/>
                <a:uLnTx/>
                <a:uFillTx/>
                <a:latin typeface="Metropolis" panose="00000500000000000000" pitchFamily="50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717074"/>
              </a:solidFill>
              <a:effectLst/>
              <a:uLnTx/>
              <a:uFillTx/>
              <a:latin typeface="Metropolis" panose="000005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98605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4FBC3A-A12C-40F9-BB8D-BC30C790139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717074"/>
                </a:solidFill>
                <a:effectLst/>
                <a:uLnTx/>
                <a:uFillTx/>
                <a:latin typeface="Metropolis" panose="00000500000000000000" pitchFamily="50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717074"/>
              </a:solidFill>
              <a:effectLst/>
              <a:uLnTx/>
              <a:uFillTx/>
              <a:latin typeface="Metropolis" panose="000005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61526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4FBC3A-A12C-40F9-BB8D-BC30C790139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717074"/>
                </a:solidFill>
                <a:effectLst/>
                <a:uLnTx/>
                <a:uFillTx/>
                <a:latin typeface="Metropolis" panose="00000500000000000000" pitchFamily="50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717074"/>
              </a:solidFill>
              <a:effectLst/>
              <a:uLnTx/>
              <a:uFillTx/>
              <a:latin typeface="Metropolis" panose="000005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55015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customXml" Target="../ink/ink1.xml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3.svg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vmware.com/content/dam/brand/photography-only/power-point-assets/ppt-fonts/Metropolis-Light-Regular-font.zip" TargetMode="External"/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customXml" Target="../ink/ink10.xml"/><Relationship Id="rId1" Type="http://schemas.openxmlformats.org/officeDocument/2006/relationships/slideMaster" Target="../slideMasters/slideMaster4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customXml" Target="../ink/ink11.xml"/><Relationship Id="rId1" Type="http://schemas.openxmlformats.org/officeDocument/2006/relationships/slideMaster" Target="../slideMasters/slideMaster4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customXml" Target="../ink/ink12.xml"/><Relationship Id="rId1" Type="http://schemas.openxmlformats.org/officeDocument/2006/relationships/slideMaster" Target="../slideMasters/slideMaster4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4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4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4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0.sv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vmware.com/content/dam/brand/photography-only/power-point-assets/ppt-fonts/Metropolis-Light-Regular-font.zip" TargetMode="External"/><Relationship Id="rId1" Type="http://schemas.openxmlformats.org/officeDocument/2006/relationships/slideMaster" Target="../slideMasters/slideMaster4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9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customXml" Target="../ink/ink2.xml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customXml" Target="../ink/ink3.xml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vmware.com/content/dam/brand/photography-only/power-point-assets/ppt-fonts/Metropolis-Light-Regular-font.zip" TargetMode="External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customXml" Target="../ink/ink4.xml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3.png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customXml" Target="../ink/ink5.xml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3.png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customXml" Target="../ink/ink6.xml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3.png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svg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vmware.com/content/dam/brand/photography-only/power-point-assets/ppt-fonts/Metropolis-Light-Regular-font.zip" TargetMode="External"/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customXml" Target="../ink/ink7.xml"/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customXml" Target="../ink/ink8.xml"/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customXml" Target="../ink/ink9.xml"/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6782F443-93A0-4919-89E7-37E501919603}"/>
              </a:ext>
            </a:extLst>
          </p:cNvPr>
          <p:cNvSpPr/>
          <p:nvPr userDrawn="1"/>
        </p:nvSpPr>
        <p:spPr>
          <a:xfrm rot="2700000">
            <a:off x="1530975" y="-2580079"/>
            <a:ext cx="3206987" cy="9623529"/>
          </a:xfrm>
          <a:custGeom>
            <a:avLst/>
            <a:gdLst>
              <a:gd name="connsiteX0" fmla="*/ 3621 w 3204432"/>
              <a:gd name="connsiteY0" fmla="*/ 3200811 h 9623529"/>
              <a:gd name="connsiteX1" fmla="*/ 3204432 w 3204432"/>
              <a:gd name="connsiteY1" fmla="*/ 0 h 9623529"/>
              <a:gd name="connsiteX2" fmla="*/ 3204432 w 3204432"/>
              <a:gd name="connsiteY2" fmla="*/ 8389488 h 9623529"/>
              <a:gd name="connsiteX3" fmla="*/ 3197162 w 3204432"/>
              <a:gd name="connsiteY3" fmla="*/ 8389488 h 9623529"/>
              <a:gd name="connsiteX4" fmla="*/ 3201565 w 3204432"/>
              <a:gd name="connsiteY4" fmla="*/ 8393890 h 9623529"/>
              <a:gd name="connsiteX5" fmla="*/ 1971926 w 3204432"/>
              <a:gd name="connsiteY5" fmla="*/ 9623529 h 9623529"/>
              <a:gd name="connsiteX6" fmla="*/ 0 w 3204432"/>
              <a:gd name="connsiteY6" fmla="*/ 7651603 h 9623529"/>
              <a:gd name="connsiteX7" fmla="*/ 3621 w 3204432"/>
              <a:gd name="connsiteY7" fmla="*/ 7647982 h 9623529"/>
              <a:gd name="connsiteX8" fmla="*/ 3621 w 3204432"/>
              <a:gd name="connsiteY8" fmla="*/ 3200811 h 9623529"/>
              <a:gd name="connsiteX0" fmla="*/ 3621 w 3206055"/>
              <a:gd name="connsiteY0" fmla="*/ 3200811 h 9623529"/>
              <a:gd name="connsiteX1" fmla="*/ 3204432 w 3206055"/>
              <a:gd name="connsiteY1" fmla="*/ 0 h 9623529"/>
              <a:gd name="connsiteX2" fmla="*/ 3204432 w 3206055"/>
              <a:gd name="connsiteY2" fmla="*/ 8389488 h 9623529"/>
              <a:gd name="connsiteX3" fmla="*/ 3197162 w 3206055"/>
              <a:gd name="connsiteY3" fmla="*/ 8389488 h 9623529"/>
              <a:gd name="connsiteX4" fmla="*/ 3206055 w 3206055"/>
              <a:gd name="connsiteY4" fmla="*/ 9386208 h 9623529"/>
              <a:gd name="connsiteX5" fmla="*/ 1971926 w 3206055"/>
              <a:gd name="connsiteY5" fmla="*/ 9623529 h 9623529"/>
              <a:gd name="connsiteX6" fmla="*/ 0 w 3206055"/>
              <a:gd name="connsiteY6" fmla="*/ 7651603 h 9623529"/>
              <a:gd name="connsiteX7" fmla="*/ 3621 w 3206055"/>
              <a:gd name="connsiteY7" fmla="*/ 7647982 h 9623529"/>
              <a:gd name="connsiteX8" fmla="*/ 3621 w 3206055"/>
              <a:gd name="connsiteY8" fmla="*/ 3200811 h 9623529"/>
              <a:gd name="connsiteX0" fmla="*/ 3621 w 3206987"/>
              <a:gd name="connsiteY0" fmla="*/ 3200811 h 9623529"/>
              <a:gd name="connsiteX1" fmla="*/ 3204432 w 3206987"/>
              <a:gd name="connsiteY1" fmla="*/ 0 h 9623529"/>
              <a:gd name="connsiteX2" fmla="*/ 3204432 w 3206987"/>
              <a:gd name="connsiteY2" fmla="*/ 8389488 h 9623529"/>
              <a:gd name="connsiteX3" fmla="*/ 3206142 w 3206987"/>
              <a:gd name="connsiteY3" fmla="*/ 8407448 h 9623529"/>
              <a:gd name="connsiteX4" fmla="*/ 3206055 w 3206987"/>
              <a:gd name="connsiteY4" fmla="*/ 9386208 h 9623529"/>
              <a:gd name="connsiteX5" fmla="*/ 1971926 w 3206987"/>
              <a:gd name="connsiteY5" fmla="*/ 9623529 h 9623529"/>
              <a:gd name="connsiteX6" fmla="*/ 0 w 3206987"/>
              <a:gd name="connsiteY6" fmla="*/ 7651603 h 9623529"/>
              <a:gd name="connsiteX7" fmla="*/ 3621 w 3206987"/>
              <a:gd name="connsiteY7" fmla="*/ 7647982 h 9623529"/>
              <a:gd name="connsiteX8" fmla="*/ 3621 w 3206987"/>
              <a:gd name="connsiteY8" fmla="*/ 3200811 h 96235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206987" h="9623529">
                <a:moveTo>
                  <a:pt x="3621" y="3200811"/>
                </a:moveTo>
                <a:lnTo>
                  <a:pt x="3204432" y="0"/>
                </a:lnTo>
                <a:lnTo>
                  <a:pt x="3204432" y="8389488"/>
                </a:lnTo>
                <a:lnTo>
                  <a:pt x="3206142" y="8407448"/>
                </a:lnTo>
                <a:cubicBezTo>
                  <a:pt x="3209106" y="8739688"/>
                  <a:pt x="3203091" y="9053968"/>
                  <a:pt x="3206055" y="9386208"/>
                </a:cubicBezTo>
                <a:lnTo>
                  <a:pt x="1971926" y="9623529"/>
                </a:lnTo>
                <a:lnTo>
                  <a:pt x="0" y="7651603"/>
                </a:lnTo>
                <a:lnTo>
                  <a:pt x="3621" y="7647982"/>
                </a:lnTo>
                <a:lnTo>
                  <a:pt x="3621" y="3200811"/>
                </a:lnTo>
                <a:close/>
              </a:path>
            </a:pathLst>
          </a:custGeom>
          <a:gradFill>
            <a:gsLst>
              <a:gs pos="24000">
                <a:schemeClr val="accent4"/>
              </a:gs>
              <a:gs pos="87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72DCDC53-603A-40A5-A8CC-0073D40D11EF}"/>
              </a:ext>
            </a:extLst>
          </p:cNvPr>
          <p:cNvSpPr/>
          <p:nvPr userDrawn="1"/>
        </p:nvSpPr>
        <p:spPr>
          <a:xfrm rot="2700000">
            <a:off x="1632126" y="1230939"/>
            <a:ext cx="3535790" cy="7514148"/>
          </a:xfrm>
          <a:custGeom>
            <a:avLst/>
            <a:gdLst>
              <a:gd name="connsiteX0" fmla="*/ 0 w 3535790"/>
              <a:gd name="connsiteY0" fmla="*/ 0 h 7514148"/>
              <a:gd name="connsiteX1" fmla="*/ 3535790 w 3535790"/>
              <a:gd name="connsiteY1" fmla="*/ 0 h 7514148"/>
              <a:gd name="connsiteX2" fmla="*/ 3535790 w 3535790"/>
              <a:gd name="connsiteY2" fmla="*/ 4642648 h 7514148"/>
              <a:gd name="connsiteX3" fmla="*/ 706090 w 3535790"/>
              <a:gd name="connsiteY3" fmla="*/ 7514148 h 7514148"/>
              <a:gd name="connsiteX4" fmla="*/ 0 w 3535790"/>
              <a:gd name="connsiteY4" fmla="*/ 6808058 h 7514148"/>
              <a:gd name="connsiteX5" fmla="*/ 0 w 3535790"/>
              <a:gd name="connsiteY5" fmla="*/ 0 h 75141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35790" h="7514148">
                <a:moveTo>
                  <a:pt x="0" y="0"/>
                </a:moveTo>
                <a:lnTo>
                  <a:pt x="3535790" y="0"/>
                </a:lnTo>
                <a:lnTo>
                  <a:pt x="3535790" y="4642648"/>
                </a:lnTo>
                <a:lnTo>
                  <a:pt x="706090" y="7514148"/>
                </a:lnTo>
                <a:lnTo>
                  <a:pt x="0" y="680805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143">
                <a:schemeClr val="bg1">
                  <a:alpha val="0"/>
                </a:schemeClr>
              </a:gs>
              <a:gs pos="14000">
                <a:schemeClr val="bg1">
                  <a:alpha val="0"/>
                </a:schemeClr>
              </a:gs>
              <a:gs pos="72000">
                <a:schemeClr val="accent1"/>
              </a:gs>
            </a:gsLst>
            <a:lin ang="4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92948" y="1582578"/>
            <a:ext cx="4996403" cy="1234440"/>
          </a:xfrm>
        </p:spPr>
        <p:txBody>
          <a:bodyPr wrap="square" anchor="b"/>
          <a:lstStyle>
            <a:lvl1pPr algn="l">
              <a:defRPr sz="4000" b="0"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8" name="Subtitle 2">
            <a:extLst>
              <a:ext uri="{FF2B5EF4-FFF2-40B4-BE49-F238E27FC236}">
                <a16:creationId xmlns:a16="http://schemas.microsoft.com/office/drawing/2014/main" id="{6EBAFA4D-7B92-4E38-8320-94F3BCA2E41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592948" y="2867279"/>
            <a:ext cx="5116452" cy="4164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accent4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EA43E1E-B208-4DC4-9D6A-01669D00DA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92948" y="4737425"/>
            <a:ext cx="3657600" cy="355601"/>
          </a:xfrm>
        </p:spPr>
        <p:txBody>
          <a:bodyPr anchor="b"/>
          <a:lstStyle>
            <a:lvl1pPr algn="l"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29" name="Text Placeholder 6">
            <a:extLst>
              <a:ext uri="{FF2B5EF4-FFF2-40B4-BE49-F238E27FC236}">
                <a16:creationId xmlns:a16="http://schemas.microsoft.com/office/drawing/2014/main" id="{2111BB8B-7B37-4FB4-B2CD-984FE1C6C5E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92948" y="5138745"/>
            <a:ext cx="3657600" cy="355601"/>
          </a:xfrm>
        </p:spPr>
        <p:txBody>
          <a:bodyPr/>
          <a:lstStyle>
            <a:lvl1pPr algn="l"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Role / Division at VMwa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68E7D54E-C753-48F7-AB43-C7A586277F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92948" y="5494346"/>
            <a:ext cx="3657600" cy="267221"/>
          </a:xfrm>
        </p:spPr>
        <p:txBody>
          <a:bodyPr/>
          <a:lstStyle>
            <a:lvl1pPr algn="l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71B1726-E7C5-4C32-A22F-BB8C0CA833E9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0AEE4566-BDD0-43EB-8593-753B4AFC53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CDDDBBBD-2B47-4F32-9507-B47217AD31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9A63A2EB-B414-427C-8975-27B69B276D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4AFD0B14-399F-447F-BBDD-FF049C867FA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0778A2AC-9D1D-4FDB-973A-47DEA98860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52873CFF-17A0-467C-B061-5E3FD5E92C7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C351EEF9-CE8C-4948-8867-FDC697419B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576FCBCF-AFA0-4D2E-AF64-919BFE9B44B8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fidential   </a:t>
            </a: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©2019 VMware, Inc.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3" name="Ink 2">
                <a:extLst>
                  <a:ext uri="{FF2B5EF4-FFF2-40B4-BE49-F238E27FC236}">
                    <a16:creationId xmlns:a16="http://schemas.microsoft.com/office/drawing/2014/main" id="{229416F8-1B20-4892-97FA-108F191A5885}"/>
                  </a:ext>
                </a:extLst>
              </p14:cNvPr>
              <p14:cNvContentPartPr/>
              <p14:nvPr userDrawn="1"/>
            </p14:nvContentPartPr>
            <p14:xfrm>
              <a:off x="9859593" y="4881179"/>
              <a:ext cx="240" cy="240"/>
            </p14:xfrm>
          </p:contentPart>
        </mc:Choice>
        <mc:Fallback xmlns="">
          <p:pic>
            <p:nvPicPr>
              <p:cNvPr id="3" name="Ink 2">
                <a:extLst>
                  <a:ext uri="{FF2B5EF4-FFF2-40B4-BE49-F238E27FC236}">
                    <a16:creationId xmlns:a16="http://schemas.microsoft.com/office/drawing/2014/main" id="{229416F8-1B20-4892-97FA-108F191A5885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9855513" y="4877099"/>
                <a:ext cx="7920" cy="79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854094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–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89834265-B4D7-4504-9C1C-C962DD96E4D9}"/>
              </a:ext>
            </a:extLst>
          </p:cNvPr>
          <p:cNvSpPr/>
          <p:nvPr userDrawn="1"/>
        </p:nvSpPr>
        <p:spPr>
          <a:xfrm rot="2700000">
            <a:off x="1156507" y="-4493128"/>
            <a:ext cx="7499811" cy="13467847"/>
          </a:xfrm>
          <a:custGeom>
            <a:avLst/>
            <a:gdLst>
              <a:gd name="connsiteX0" fmla="*/ 0 w 7499811"/>
              <a:gd name="connsiteY0" fmla="*/ 7314868 h 13467847"/>
              <a:gd name="connsiteX1" fmla="*/ 7314868 w 7499811"/>
              <a:gd name="connsiteY1" fmla="*/ 0 h 13467847"/>
              <a:gd name="connsiteX2" fmla="*/ 7499811 w 7499811"/>
              <a:gd name="connsiteY2" fmla="*/ 184942 h 13467847"/>
              <a:gd name="connsiteX3" fmla="*/ 7499811 w 7499811"/>
              <a:gd name="connsiteY3" fmla="*/ 9513150 h 13467847"/>
              <a:gd name="connsiteX4" fmla="*/ 3545114 w 7499811"/>
              <a:gd name="connsiteY4" fmla="*/ 13467847 h 13467847"/>
              <a:gd name="connsiteX5" fmla="*/ 0 w 7499811"/>
              <a:gd name="connsiteY5" fmla="*/ 9922733 h 13467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9811" h="13467847">
                <a:moveTo>
                  <a:pt x="0" y="7314868"/>
                </a:moveTo>
                <a:lnTo>
                  <a:pt x="7314868" y="0"/>
                </a:lnTo>
                <a:lnTo>
                  <a:pt x="7499811" y="184942"/>
                </a:lnTo>
                <a:lnTo>
                  <a:pt x="7499811" y="9513150"/>
                </a:lnTo>
                <a:lnTo>
                  <a:pt x="3545114" y="13467847"/>
                </a:lnTo>
                <a:lnTo>
                  <a:pt x="0" y="9922733"/>
                </a:lnTo>
                <a:close/>
              </a:path>
            </a:pathLst>
          </a:custGeom>
          <a:gradFill>
            <a:gsLst>
              <a:gs pos="24000">
                <a:schemeClr val="accent3"/>
              </a:gs>
              <a:gs pos="87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12F29CAF-76E7-4387-BEA8-66F482EB65A2}"/>
              </a:ext>
            </a:extLst>
          </p:cNvPr>
          <p:cNvSpPr/>
          <p:nvPr userDrawn="1"/>
        </p:nvSpPr>
        <p:spPr>
          <a:xfrm rot="2700000">
            <a:off x="7032715" y="-169135"/>
            <a:ext cx="1042026" cy="8663939"/>
          </a:xfrm>
          <a:custGeom>
            <a:avLst/>
            <a:gdLst>
              <a:gd name="connsiteX0" fmla="*/ 0 w 1042026"/>
              <a:gd name="connsiteY0" fmla="*/ 0 h 8663939"/>
              <a:gd name="connsiteX1" fmla="*/ 1042026 w 1042026"/>
              <a:gd name="connsiteY1" fmla="*/ 0 h 8663939"/>
              <a:gd name="connsiteX2" fmla="*/ 1042026 w 1042026"/>
              <a:gd name="connsiteY2" fmla="*/ 7621913 h 8663939"/>
              <a:gd name="connsiteX3" fmla="*/ 0 w 1042026"/>
              <a:gd name="connsiteY3" fmla="*/ 8663939 h 86639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2026" h="8663939">
                <a:moveTo>
                  <a:pt x="0" y="0"/>
                </a:moveTo>
                <a:lnTo>
                  <a:pt x="1042026" y="0"/>
                </a:lnTo>
                <a:lnTo>
                  <a:pt x="1042026" y="7621913"/>
                </a:lnTo>
                <a:lnTo>
                  <a:pt x="0" y="8663939"/>
                </a:lnTo>
                <a:close/>
              </a:path>
            </a:pathLst>
          </a:custGeom>
          <a:gradFill>
            <a:gsLst>
              <a:gs pos="24000">
                <a:schemeClr val="accent3"/>
              </a:gs>
              <a:gs pos="80511">
                <a:schemeClr val="bg1">
                  <a:alpha val="76000"/>
                </a:schemeClr>
              </a:gs>
              <a:gs pos="100000">
                <a:schemeClr val="bg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48347C3-DAFD-4322-8B75-FAADCB97A100}"/>
              </a:ext>
            </a:extLst>
          </p:cNvPr>
          <p:cNvSpPr txBox="1"/>
          <p:nvPr userDrawn="1"/>
        </p:nvSpPr>
        <p:spPr bwMode="white"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dirty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A840448-0A4C-4F83-A1CE-7B630AF6D91D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33BBD7F2-6BDB-40F5-BE43-2E5C642F40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1898F8B4-B178-4326-B6D0-C409F52A5D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04FAC758-8579-4948-8E17-F881282AF52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9BC37D6E-0610-40BC-A869-ED4C24F40DA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id="{0AD2EDE2-8C04-4779-942A-CD00356199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id="{B9B95322-EB86-42B6-BCDB-3C38F71CED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32" name="Freeform 12">
              <a:extLst>
                <a:ext uri="{FF2B5EF4-FFF2-40B4-BE49-F238E27FC236}">
                  <a16:creationId xmlns:a16="http://schemas.microsoft.com/office/drawing/2014/main" id="{20532F85-7A34-4927-9486-A847F29CF7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10DCB4EB-8A9B-485D-A968-34B397B482C3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fidential   </a:t>
            </a: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©2019 VMware, Inc.</a:t>
            </a:r>
          </a:p>
        </p:txBody>
      </p:sp>
      <p:sp>
        <p:nvSpPr>
          <p:cNvPr id="41" name="Picture Placeholder 184">
            <a:extLst>
              <a:ext uri="{FF2B5EF4-FFF2-40B4-BE49-F238E27FC236}">
                <a16:creationId xmlns:a16="http://schemas.microsoft.com/office/drawing/2014/main" id="{997DC603-F304-4357-BF7F-19215EB70C5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523151" y="4619335"/>
            <a:ext cx="2740025" cy="1371600"/>
          </a:xfrm>
          <a:noFill/>
        </p:spPr>
        <p:txBody>
          <a:bodyPr anchor="ctr"/>
          <a:lstStyle>
            <a:lvl1pPr algn="ctr">
              <a:defRPr sz="2400" b="1">
                <a:solidFill>
                  <a:srgbClr val="F8981D"/>
                </a:solidFill>
              </a:defRPr>
            </a:lvl1pPr>
          </a:lstStyle>
          <a:p>
            <a:r>
              <a:rPr lang="en-US" dirty="0"/>
              <a:t>Click to insert logo or delete box if not needed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6C21BA7-C6D2-446E-8FD2-266107E90C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8912" y="1600200"/>
            <a:ext cx="5413248" cy="3200400"/>
          </a:xfrm>
        </p:spPr>
        <p:txBody>
          <a:bodyPr anchor="b"/>
          <a:lstStyle>
            <a:lvl1pPr marL="169863" indent="-169863">
              <a:buClrTx/>
              <a:buSzPct val="100000"/>
              <a:buFont typeface="Metropolis" panose="00000500000000000000" pitchFamily="2" charset="0"/>
              <a:buChar char="“"/>
              <a:defRPr sz="2800">
                <a:solidFill>
                  <a:schemeClr val="bg1"/>
                </a:solidFill>
              </a:defRPr>
            </a:lvl1pPr>
            <a:lvl2pPr marL="457200" indent="-184150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2pPr>
            <a:lvl3pPr marL="744538" indent="-16986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3pPr>
            <a:lvl4pPr marL="969963" indent="-166688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4pPr>
            <a:lvl5pPr marL="1143000" indent="-13811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762CBDD-60C2-443D-88B5-C596896049D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648" y="5065776"/>
            <a:ext cx="4581144" cy="274320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 Name</a:t>
            </a:r>
          </a:p>
        </p:txBody>
      </p:sp>
    </p:spTree>
    <p:extLst>
      <p:ext uri="{BB962C8B-B14F-4D97-AF65-F5344CB8AC3E}">
        <p14:creationId xmlns:p14="http://schemas.microsoft.com/office/powerpoint/2010/main" val="3537418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Photo – Aqu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3782B963-3DE7-4086-92ED-CD92BCC38428}"/>
              </a:ext>
            </a:extLst>
          </p:cNvPr>
          <p:cNvSpPr/>
          <p:nvPr userDrawn="1"/>
        </p:nvSpPr>
        <p:spPr>
          <a:xfrm>
            <a:off x="8943276" y="3622878"/>
            <a:ext cx="3251263" cy="3253579"/>
          </a:xfrm>
          <a:prstGeom prst="triangle">
            <a:avLst>
              <a:gd name="adj" fmla="val 10000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B634BC28-ECEA-4006-A436-B22F54417FE9}"/>
              </a:ext>
            </a:extLst>
          </p:cNvPr>
          <p:cNvSpPr/>
          <p:nvPr userDrawn="1"/>
        </p:nvSpPr>
        <p:spPr>
          <a:xfrm rot="2700000">
            <a:off x="9037252" y="3334945"/>
            <a:ext cx="970552" cy="4540137"/>
          </a:xfrm>
          <a:custGeom>
            <a:avLst/>
            <a:gdLst>
              <a:gd name="connsiteX0" fmla="*/ 1 w 970552"/>
              <a:gd name="connsiteY0" fmla="*/ 970551 h 4540137"/>
              <a:gd name="connsiteX1" fmla="*/ 970552 w 970552"/>
              <a:gd name="connsiteY1" fmla="*/ 0 h 4540137"/>
              <a:gd name="connsiteX2" fmla="*/ 970552 w 970552"/>
              <a:gd name="connsiteY2" fmla="*/ 3569585 h 4540137"/>
              <a:gd name="connsiteX3" fmla="*/ 0 w 970552"/>
              <a:gd name="connsiteY3" fmla="*/ 4540137 h 4540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0552" h="4540137">
                <a:moveTo>
                  <a:pt x="1" y="970551"/>
                </a:moveTo>
                <a:lnTo>
                  <a:pt x="970552" y="0"/>
                </a:lnTo>
                <a:lnTo>
                  <a:pt x="970552" y="3569585"/>
                </a:lnTo>
                <a:lnTo>
                  <a:pt x="0" y="4540137"/>
                </a:lnTo>
                <a:close/>
              </a:path>
            </a:pathLst>
          </a:custGeom>
          <a:gradFill>
            <a:gsLst>
              <a:gs pos="24000">
                <a:schemeClr val="accent3">
                  <a:alpha val="40000"/>
                </a:schemeClr>
              </a:gs>
              <a:gs pos="87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046FCD12-70AD-43E4-97A5-E350476D993C}"/>
              </a:ext>
            </a:extLst>
          </p:cNvPr>
          <p:cNvSpPr/>
          <p:nvPr userDrawn="1"/>
        </p:nvSpPr>
        <p:spPr>
          <a:xfrm rot="10800000">
            <a:off x="0" y="-1"/>
            <a:ext cx="10873127" cy="6868836"/>
          </a:xfrm>
          <a:custGeom>
            <a:avLst/>
            <a:gdLst>
              <a:gd name="connsiteX0" fmla="*/ 10873127 w 10873127"/>
              <a:gd name="connsiteY0" fmla="*/ 6868836 h 6868836"/>
              <a:gd name="connsiteX1" fmla="*/ 0 w 10873127"/>
              <a:gd name="connsiteY1" fmla="*/ 6868836 h 6868836"/>
              <a:gd name="connsiteX2" fmla="*/ 6863947 w 10873127"/>
              <a:gd name="connsiteY2" fmla="*/ 0 h 6868836"/>
              <a:gd name="connsiteX3" fmla="*/ 10873127 w 10873127"/>
              <a:gd name="connsiteY3" fmla="*/ 0 h 6868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873127" h="6868836">
                <a:moveTo>
                  <a:pt x="10873127" y="6868836"/>
                </a:moveTo>
                <a:lnTo>
                  <a:pt x="0" y="6868836"/>
                </a:lnTo>
                <a:lnTo>
                  <a:pt x="6863947" y="0"/>
                </a:lnTo>
                <a:lnTo>
                  <a:pt x="10873127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EAC21F4-620C-4207-A01D-C082619C707B}"/>
              </a:ext>
            </a:extLst>
          </p:cNvPr>
          <p:cNvSpPr txBox="1"/>
          <p:nvPr userDrawn="1"/>
        </p:nvSpPr>
        <p:spPr bwMode="white"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solidFill>
                <a:schemeClr val="tx1"/>
              </a:solidFill>
              <a:latin typeface="+mj-lt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AC6091C-E947-4C0C-85B0-C87C084ACB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9108" y="938794"/>
            <a:ext cx="6427626" cy="1229360"/>
          </a:xfrm>
        </p:spPr>
        <p:txBody>
          <a:bodyPr wrap="square" anchor="b"/>
          <a:lstStyle>
            <a:lvl1pPr algn="l">
              <a:defRPr sz="3599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A2044BBD-0109-43FF-A52D-8FA2841A4DF6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02966" y="2267712"/>
            <a:ext cx="6408402" cy="700882"/>
          </a:xfrm>
        </p:spPr>
        <p:txBody>
          <a:bodyPr/>
          <a:lstStyle>
            <a:lvl1pPr marL="0" indent="0" algn="l">
              <a:buNone/>
              <a:defRPr sz="2399">
                <a:solidFill>
                  <a:schemeClr val="tx2"/>
                </a:solidFill>
                <a:latin typeface="+mj-lt"/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add text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D0EECB4-F8FF-42F6-B913-97C4F2956537}"/>
              </a:ext>
            </a:extLst>
          </p:cNvPr>
          <p:cNvGrpSpPr/>
          <p:nvPr userDrawn="1"/>
        </p:nvGrpSpPr>
        <p:grpSpPr>
          <a:xfrm>
            <a:off x="608013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A2743E06-9EDE-42AB-954B-24AD2E0EDE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F727B63B-9DDF-4464-B305-91E2F1F53A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BE99358C-EF1D-4887-8E23-C6B6EFECC05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AB115210-A643-4048-8CE2-AE858AA6D28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DADAB024-3024-4445-96A4-008D5EBBB3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8C49FA45-007B-4A99-BFB8-737C3A292BE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6" name="Freeform 12">
              <a:extLst>
                <a:ext uri="{FF2B5EF4-FFF2-40B4-BE49-F238E27FC236}">
                  <a16:creationId xmlns:a16="http://schemas.microsoft.com/office/drawing/2014/main" id="{6AD6968C-6030-4061-9BA9-3E345BE073B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9267F80E-E3AF-43A3-AA96-C701371ACCD5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</p:spTree>
    <p:extLst>
      <p:ext uri="{BB962C8B-B14F-4D97-AF65-F5344CB8AC3E}">
        <p14:creationId xmlns:p14="http://schemas.microsoft.com/office/powerpoint/2010/main" val="906672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Photo – Whi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77AF2AD3-F838-49C6-9DFB-93814BFCCBA6}"/>
              </a:ext>
            </a:extLst>
          </p:cNvPr>
          <p:cNvSpPr/>
          <p:nvPr userDrawn="1"/>
        </p:nvSpPr>
        <p:spPr>
          <a:xfrm>
            <a:off x="8943276" y="3622878"/>
            <a:ext cx="3251263" cy="3253579"/>
          </a:xfrm>
          <a:prstGeom prst="triangle">
            <a:avLst>
              <a:gd name="adj" fmla="val 10000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E385DDA8-6A1A-4BC0-A877-A6124E4A0330}"/>
              </a:ext>
            </a:extLst>
          </p:cNvPr>
          <p:cNvSpPr/>
          <p:nvPr userDrawn="1"/>
        </p:nvSpPr>
        <p:spPr>
          <a:xfrm rot="2700000">
            <a:off x="9037252" y="3334945"/>
            <a:ext cx="970552" cy="4540137"/>
          </a:xfrm>
          <a:custGeom>
            <a:avLst/>
            <a:gdLst>
              <a:gd name="connsiteX0" fmla="*/ 1 w 970552"/>
              <a:gd name="connsiteY0" fmla="*/ 970551 h 4540137"/>
              <a:gd name="connsiteX1" fmla="*/ 970552 w 970552"/>
              <a:gd name="connsiteY1" fmla="*/ 0 h 4540137"/>
              <a:gd name="connsiteX2" fmla="*/ 970552 w 970552"/>
              <a:gd name="connsiteY2" fmla="*/ 3569585 h 4540137"/>
              <a:gd name="connsiteX3" fmla="*/ 0 w 970552"/>
              <a:gd name="connsiteY3" fmla="*/ 4540137 h 4540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0552" h="4540137">
                <a:moveTo>
                  <a:pt x="1" y="970551"/>
                </a:moveTo>
                <a:lnTo>
                  <a:pt x="970552" y="0"/>
                </a:lnTo>
                <a:lnTo>
                  <a:pt x="970552" y="3569585"/>
                </a:lnTo>
                <a:lnTo>
                  <a:pt x="0" y="4540137"/>
                </a:lnTo>
                <a:close/>
              </a:path>
            </a:pathLst>
          </a:custGeom>
          <a:gradFill>
            <a:gsLst>
              <a:gs pos="24000">
                <a:schemeClr val="bg1">
                  <a:alpha val="59000"/>
                </a:schemeClr>
              </a:gs>
              <a:gs pos="78000">
                <a:schemeClr val="bg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" name="Isosceles Triangle 1">
            <a:extLst>
              <a:ext uri="{FF2B5EF4-FFF2-40B4-BE49-F238E27FC236}">
                <a16:creationId xmlns:a16="http://schemas.microsoft.com/office/drawing/2014/main" id="{B4BC3A27-8DAD-4476-9725-CF11880123D8}"/>
              </a:ext>
            </a:extLst>
          </p:cNvPr>
          <p:cNvSpPr/>
          <p:nvPr userDrawn="1"/>
        </p:nvSpPr>
        <p:spPr>
          <a:xfrm>
            <a:off x="8935656" y="3622878"/>
            <a:ext cx="3251263" cy="3253579"/>
          </a:xfrm>
          <a:prstGeom prst="triangle">
            <a:avLst>
              <a:gd name="adj" fmla="val 10000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046FCD12-70AD-43E4-97A5-E350476D993C}"/>
              </a:ext>
            </a:extLst>
          </p:cNvPr>
          <p:cNvSpPr/>
          <p:nvPr userDrawn="1"/>
        </p:nvSpPr>
        <p:spPr>
          <a:xfrm rot="10800000">
            <a:off x="0" y="-1"/>
            <a:ext cx="10873127" cy="6868836"/>
          </a:xfrm>
          <a:custGeom>
            <a:avLst/>
            <a:gdLst>
              <a:gd name="connsiteX0" fmla="*/ 10873127 w 10873127"/>
              <a:gd name="connsiteY0" fmla="*/ 6868836 h 6868836"/>
              <a:gd name="connsiteX1" fmla="*/ 0 w 10873127"/>
              <a:gd name="connsiteY1" fmla="*/ 6868836 h 6868836"/>
              <a:gd name="connsiteX2" fmla="*/ 6863947 w 10873127"/>
              <a:gd name="connsiteY2" fmla="*/ 0 h 6868836"/>
              <a:gd name="connsiteX3" fmla="*/ 10873127 w 10873127"/>
              <a:gd name="connsiteY3" fmla="*/ 0 h 6868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873127" h="6868836">
                <a:moveTo>
                  <a:pt x="10873127" y="6868836"/>
                </a:moveTo>
                <a:lnTo>
                  <a:pt x="0" y="6868836"/>
                </a:lnTo>
                <a:lnTo>
                  <a:pt x="6863947" y="0"/>
                </a:lnTo>
                <a:lnTo>
                  <a:pt x="10873127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EAC21F4-620C-4207-A01D-C082619C707B}"/>
              </a:ext>
            </a:extLst>
          </p:cNvPr>
          <p:cNvSpPr txBox="1"/>
          <p:nvPr userDrawn="1"/>
        </p:nvSpPr>
        <p:spPr bwMode="white"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solidFill>
                <a:schemeClr val="tx1"/>
              </a:solidFill>
              <a:latin typeface="+mj-lt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AC6091C-E947-4C0C-85B0-C87C084ACB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9108" y="938794"/>
            <a:ext cx="6427626" cy="1229360"/>
          </a:xfrm>
        </p:spPr>
        <p:txBody>
          <a:bodyPr wrap="square" anchor="b"/>
          <a:lstStyle>
            <a:lvl1pPr algn="l">
              <a:defRPr sz="3599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A2044BBD-0109-43FF-A52D-8FA2841A4DF6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02966" y="2267712"/>
            <a:ext cx="6408402" cy="700882"/>
          </a:xfrm>
        </p:spPr>
        <p:txBody>
          <a:bodyPr/>
          <a:lstStyle>
            <a:lvl1pPr marL="0" indent="0" algn="l">
              <a:buNone/>
              <a:defRPr sz="2399">
                <a:solidFill>
                  <a:schemeClr val="tx2"/>
                </a:solidFill>
                <a:latin typeface="+mj-lt"/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add text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D0EECB4-F8FF-42F6-B913-97C4F2956537}"/>
              </a:ext>
            </a:extLst>
          </p:cNvPr>
          <p:cNvGrpSpPr/>
          <p:nvPr userDrawn="1"/>
        </p:nvGrpSpPr>
        <p:grpSpPr>
          <a:xfrm>
            <a:off x="608013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A2743E06-9EDE-42AB-954B-24AD2E0EDE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F727B63B-9DDF-4464-B305-91E2F1F53A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BE99358C-EF1D-4887-8E23-C6B6EFECC05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AB115210-A643-4048-8CE2-AE858AA6D28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DADAB024-3024-4445-96A4-008D5EBBB3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8C49FA45-007B-4A99-BFB8-737C3A292BE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6" name="Freeform 12">
              <a:extLst>
                <a:ext uri="{FF2B5EF4-FFF2-40B4-BE49-F238E27FC236}">
                  <a16:creationId xmlns:a16="http://schemas.microsoft.com/office/drawing/2014/main" id="{6AD6968C-6030-4061-9BA9-3E345BE073B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9267F80E-E3AF-43A3-AA96-C701371ACCD5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</p:spTree>
    <p:extLst>
      <p:ext uri="{BB962C8B-B14F-4D97-AF65-F5344CB8AC3E}">
        <p14:creationId xmlns:p14="http://schemas.microsoft.com/office/powerpoint/2010/main" val="255646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89834265-B4D7-4504-9C1C-C962DD96E4D9}"/>
              </a:ext>
            </a:extLst>
          </p:cNvPr>
          <p:cNvSpPr/>
          <p:nvPr userDrawn="1"/>
        </p:nvSpPr>
        <p:spPr>
          <a:xfrm rot="2700000">
            <a:off x="1156508" y="-4493128"/>
            <a:ext cx="7499811" cy="13467847"/>
          </a:xfrm>
          <a:custGeom>
            <a:avLst/>
            <a:gdLst>
              <a:gd name="connsiteX0" fmla="*/ 0 w 7499811"/>
              <a:gd name="connsiteY0" fmla="*/ 7314868 h 13467847"/>
              <a:gd name="connsiteX1" fmla="*/ 7314868 w 7499811"/>
              <a:gd name="connsiteY1" fmla="*/ 0 h 13467847"/>
              <a:gd name="connsiteX2" fmla="*/ 7499811 w 7499811"/>
              <a:gd name="connsiteY2" fmla="*/ 184942 h 13467847"/>
              <a:gd name="connsiteX3" fmla="*/ 7499811 w 7499811"/>
              <a:gd name="connsiteY3" fmla="*/ 9513150 h 13467847"/>
              <a:gd name="connsiteX4" fmla="*/ 3545114 w 7499811"/>
              <a:gd name="connsiteY4" fmla="*/ 13467847 h 13467847"/>
              <a:gd name="connsiteX5" fmla="*/ 0 w 7499811"/>
              <a:gd name="connsiteY5" fmla="*/ 9922733 h 13467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9811" h="13467847">
                <a:moveTo>
                  <a:pt x="0" y="7314868"/>
                </a:moveTo>
                <a:lnTo>
                  <a:pt x="7314868" y="0"/>
                </a:lnTo>
                <a:lnTo>
                  <a:pt x="7499811" y="184942"/>
                </a:lnTo>
                <a:lnTo>
                  <a:pt x="7499811" y="9513150"/>
                </a:lnTo>
                <a:lnTo>
                  <a:pt x="3545114" y="13467847"/>
                </a:lnTo>
                <a:lnTo>
                  <a:pt x="0" y="9922733"/>
                </a:lnTo>
                <a:close/>
              </a:path>
            </a:pathLst>
          </a:custGeom>
          <a:gradFill>
            <a:gsLst>
              <a:gs pos="24000">
                <a:schemeClr val="accent4"/>
              </a:gs>
              <a:gs pos="87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12F29CAF-76E7-4387-BEA8-66F482EB65A2}"/>
              </a:ext>
            </a:extLst>
          </p:cNvPr>
          <p:cNvSpPr/>
          <p:nvPr userDrawn="1"/>
        </p:nvSpPr>
        <p:spPr>
          <a:xfrm rot="2700000">
            <a:off x="7032715" y="-169135"/>
            <a:ext cx="1042026" cy="8663939"/>
          </a:xfrm>
          <a:custGeom>
            <a:avLst/>
            <a:gdLst>
              <a:gd name="connsiteX0" fmla="*/ 0 w 1042026"/>
              <a:gd name="connsiteY0" fmla="*/ 0 h 8663939"/>
              <a:gd name="connsiteX1" fmla="*/ 1042026 w 1042026"/>
              <a:gd name="connsiteY1" fmla="*/ 0 h 8663939"/>
              <a:gd name="connsiteX2" fmla="*/ 1042026 w 1042026"/>
              <a:gd name="connsiteY2" fmla="*/ 7621913 h 8663939"/>
              <a:gd name="connsiteX3" fmla="*/ 0 w 1042026"/>
              <a:gd name="connsiteY3" fmla="*/ 8663939 h 86639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2026" h="8663939">
                <a:moveTo>
                  <a:pt x="0" y="0"/>
                </a:moveTo>
                <a:lnTo>
                  <a:pt x="1042026" y="0"/>
                </a:lnTo>
                <a:lnTo>
                  <a:pt x="1042026" y="7621913"/>
                </a:lnTo>
                <a:lnTo>
                  <a:pt x="0" y="8663939"/>
                </a:lnTo>
                <a:close/>
              </a:path>
            </a:pathLst>
          </a:custGeom>
          <a:gradFill>
            <a:gsLst>
              <a:gs pos="94000">
                <a:schemeClr val="bg1"/>
              </a:gs>
              <a:gs pos="26000">
                <a:schemeClr val="accent4"/>
              </a:gs>
              <a:gs pos="76000">
                <a:schemeClr val="bg1">
                  <a:alpha val="91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48347C3-DAFD-4322-8B75-FAADCB97A100}"/>
              </a:ext>
            </a:extLst>
          </p:cNvPr>
          <p:cNvSpPr txBox="1"/>
          <p:nvPr userDrawn="1"/>
        </p:nvSpPr>
        <p:spPr bwMode="white"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A840448-0A4C-4F83-A1CE-7B630AF6D91D}"/>
              </a:ext>
            </a:extLst>
          </p:cNvPr>
          <p:cNvGrpSpPr/>
          <p:nvPr userDrawn="1"/>
        </p:nvGrpSpPr>
        <p:grpSpPr>
          <a:xfrm>
            <a:off x="608013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33BBD7F2-6BDB-40F5-BE43-2E5C642F40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1898F8B4-B178-4326-B6D0-C409F52A5D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04FAC758-8579-4948-8E17-F881282AF52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9BC37D6E-0610-40BC-A869-ED4C24F40DA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id="{0AD2EDE2-8C04-4779-942A-CD00356199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id="{B9B95322-EB86-42B6-BCDB-3C38F71CED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32" name="Freeform 12">
              <a:extLst>
                <a:ext uri="{FF2B5EF4-FFF2-40B4-BE49-F238E27FC236}">
                  <a16:creationId xmlns:a16="http://schemas.microsoft.com/office/drawing/2014/main" id="{20532F85-7A34-4927-9486-A847F29CF7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10DCB4EB-8A9B-485D-A968-34B397B482C3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fidential   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©2019 VMware, Inc.</a:t>
            </a:r>
          </a:p>
        </p:txBody>
      </p:sp>
      <p:sp>
        <p:nvSpPr>
          <p:cNvPr id="41" name="Picture Placeholder 184">
            <a:extLst>
              <a:ext uri="{FF2B5EF4-FFF2-40B4-BE49-F238E27FC236}">
                <a16:creationId xmlns:a16="http://schemas.microsoft.com/office/drawing/2014/main" id="{997DC603-F304-4357-BF7F-19215EB70C5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523152" y="4619335"/>
            <a:ext cx="2740025" cy="1371600"/>
          </a:xfrm>
          <a:noFill/>
        </p:spPr>
        <p:txBody>
          <a:bodyPr anchor="ctr"/>
          <a:lstStyle>
            <a:lvl1pPr algn="ctr">
              <a:defRPr sz="2399" b="1">
                <a:solidFill>
                  <a:srgbClr val="F8981D"/>
                </a:solidFill>
              </a:defRPr>
            </a:lvl1pPr>
          </a:lstStyle>
          <a:p>
            <a:r>
              <a:rPr lang="en-US"/>
              <a:t>Click to insert logo or delete box if not needed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6C21BA7-C6D2-446E-8FD2-266107E90C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8912" y="1600200"/>
            <a:ext cx="5413248" cy="3200400"/>
          </a:xfrm>
        </p:spPr>
        <p:txBody>
          <a:bodyPr anchor="b"/>
          <a:lstStyle>
            <a:lvl1pPr marL="169812" indent="-169812">
              <a:buClrTx/>
              <a:buSzPct val="100000"/>
              <a:buFont typeface="Metropolis" panose="00000500000000000000" pitchFamily="2" charset="0"/>
              <a:buChar char="“"/>
              <a:defRPr sz="2799">
                <a:solidFill>
                  <a:schemeClr val="bg1"/>
                </a:solidFill>
              </a:defRPr>
            </a:lvl1pPr>
            <a:lvl2pPr marL="457063" indent="-184095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2pPr>
            <a:lvl3pPr marL="744315" indent="-169812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3pPr>
            <a:lvl4pPr marL="969672" indent="-166638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4pPr>
            <a:lvl5pPr marL="1142657" indent="-138072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762CBDD-60C2-443D-88B5-C596896049D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649" y="5065776"/>
            <a:ext cx="4581144" cy="274320"/>
          </a:xfrm>
        </p:spPr>
        <p:txBody>
          <a:bodyPr/>
          <a:lstStyle>
            <a:lvl1pPr>
              <a:defRPr sz="17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ource Name</a:t>
            </a:r>
          </a:p>
        </p:txBody>
      </p:sp>
    </p:spTree>
    <p:extLst>
      <p:ext uri="{BB962C8B-B14F-4D97-AF65-F5344CB8AC3E}">
        <p14:creationId xmlns:p14="http://schemas.microsoft.com/office/powerpoint/2010/main" val="2334654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– Plu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89834265-B4D7-4504-9C1C-C962DD96E4D9}"/>
              </a:ext>
            </a:extLst>
          </p:cNvPr>
          <p:cNvSpPr/>
          <p:nvPr userDrawn="1"/>
        </p:nvSpPr>
        <p:spPr>
          <a:xfrm rot="2700000">
            <a:off x="1156508" y="-4493128"/>
            <a:ext cx="7499811" cy="13467847"/>
          </a:xfrm>
          <a:custGeom>
            <a:avLst/>
            <a:gdLst>
              <a:gd name="connsiteX0" fmla="*/ 0 w 7499811"/>
              <a:gd name="connsiteY0" fmla="*/ 7314868 h 13467847"/>
              <a:gd name="connsiteX1" fmla="*/ 7314868 w 7499811"/>
              <a:gd name="connsiteY1" fmla="*/ 0 h 13467847"/>
              <a:gd name="connsiteX2" fmla="*/ 7499811 w 7499811"/>
              <a:gd name="connsiteY2" fmla="*/ 184942 h 13467847"/>
              <a:gd name="connsiteX3" fmla="*/ 7499811 w 7499811"/>
              <a:gd name="connsiteY3" fmla="*/ 9513150 h 13467847"/>
              <a:gd name="connsiteX4" fmla="*/ 3545114 w 7499811"/>
              <a:gd name="connsiteY4" fmla="*/ 13467847 h 13467847"/>
              <a:gd name="connsiteX5" fmla="*/ 0 w 7499811"/>
              <a:gd name="connsiteY5" fmla="*/ 9922733 h 13467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9811" h="13467847">
                <a:moveTo>
                  <a:pt x="0" y="7314868"/>
                </a:moveTo>
                <a:lnTo>
                  <a:pt x="7314868" y="0"/>
                </a:lnTo>
                <a:lnTo>
                  <a:pt x="7499811" y="184942"/>
                </a:lnTo>
                <a:lnTo>
                  <a:pt x="7499811" y="9513150"/>
                </a:lnTo>
                <a:lnTo>
                  <a:pt x="3545114" y="13467847"/>
                </a:lnTo>
                <a:lnTo>
                  <a:pt x="0" y="9922733"/>
                </a:lnTo>
                <a:close/>
              </a:path>
            </a:pathLst>
          </a:custGeom>
          <a:gradFill>
            <a:gsLst>
              <a:gs pos="24000">
                <a:srgbClr val="7F35AB"/>
              </a:gs>
              <a:gs pos="87000">
                <a:srgbClr val="264088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12F29CAF-76E7-4387-BEA8-66F482EB65A2}"/>
              </a:ext>
            </a:extLst>
          </p:cNvPr>
          <p:cNvSpPr/>
          <p:nvPr userDrawn="1"/>
        </p:nvSpPr>
        <p:spPr>
          <a:xfrm rot="2700000">
            <a:off x="7032715" y="-169135"/>
            <a:ext cx="1042026" cy="8663939"/>
          </a:xfrm>
          <a:custGeom>
            <a:avLst/>
            <a:gdLst>
              <a:gd name="connsiteX0" fmla="*/ 0 w 1042026"/>
              <a:gd name="connsiteY0" fmla="*/ 0 h 8663939"/>
              <a:gd name="connsiteX1" fmla="*/ 1042026 w 1042026"/>
              <a:gd name="connsiteY1" fmla="*/ 0 h 8663939"/>
              <a:gd name="connsiteX2" fmla="*/ 1042026 w 1042026"/>
              <a:gd name="connsiteY2" fmla="*/ 7621913 h 8663939"/>
              <a:gd name="connsiteX3" fmla="*/ 0 w 1042026"/>
              <a:gd name="connsiteY3" fmla="*/ 8663939 h 86639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2026" h="8663939">
                <a:moveTo>
                  <a:pt x="0" y="0"/>
                </a:moveTo>
                <a:lnTo>
                  <a:pt x="1042026" y="0"/>
                </a:lnTo>
                <a:lnTo>
                  <a:pt x="1042026" y="7621913"/>
                </a:lnTo>
                <a:lnTo>
                  <a:pt x="0" y="8663939"/>
                </a:lnTo>
                <a:close/>
              </a:path>
            </a:pathLst>
          </a:custGeom>
          <a:gradFill>
            <a:gsLst>
              <a:gs pos="22000">
                <a:srgbClr val="7F35AB">
                  <a:alpha val="94000"/>
                </a:srgbClr>
              </a:gs>
              <a:gs pos="95000">
                <a:schemeClr val="bg1"/>
              </a:gs>
              <a:gs pos="77000">
                <a:schemeClr val="bg1">
                  <a:alpha val="79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48347C3-DAFD-4322-8B75-FAADCB97A100}"/>
              </a:ext>
            </a:extLst>
          </p:cNvPr>
          <p:cNvSpPr txBox="1"/>
          <p:nvPr userDrawn="1"/>
        </p:nvSpPr>
        <p:spPr bwMode="white"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A840448-0A4C-4F83-A1CE-7B630AF6D91D}"/>
              </a:ext>
            </a:extLst>
          </p:cNvPr>
          <p:cNvGrpSpPr/>
          <p:nvPr userDrawn="1"/>
        </p:nvGrpSpPr>
        <p:grpSpPr>
          <a:xfrm>
            <a:off x="608013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33BBD7F2-6BDB-40F5-BE43-2E5C642F40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1898F8B4-B178-4326-B6D0-C409F52A5D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04FAC758-8579-4948-8E17-F881282AF52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9BC37D6E-0610-40BC-A869-ED4C24F40DA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id="{0AD2EDE2-8C04-4779-942A-CD00356199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id="{B9B95322-EB86-42B6-BCDB-3C38F71CED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32" name="Freeform 12">
              <a:extLst>
                <a:ext uri="{FF2B5EF4-FFF2-40B4-BE49-F238E27FC236}">
                  <a16:creationId xmlns:a16="http://schemas.microsoft.com/office/drawing/2014/main" id="{20532F85-7A34-4927-9486-A847F29CF7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10DCB4EB-8A9B-485D-A968-34B397B482C3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fidential   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©2019 VMware, Inc.</a:t>
            </a:r>
          </a:p>
        </p:txBody>
      </p:sp>
      <p:sp>
        <p:nvSpPr>
          <p:cNvPr id="41" name="Picture Placeholder 184">
            <a:extLst>
              <a:ext uri="{FF2B5EF4-FFF2-40B4-BE49-F238E27FC236}">
                <a16:creationId xmlns:a16="http://schemas.microsoft.com/office/drawing/2014/main" id="{997DC603-F304-4357-BF7F-19215EB70C5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523152" y="4619335"/>
            <a:ext cx="2740025" cy="1371600"/>
          </a:xfrm>
          <a:noFill/>
        </p:spPr>
        <p:txBody>
          <a:bodyPr anchor="ctr"/>
          <a:lstStyle>
            <a:lvl1pPr algn="ctr">
              <a:defRPr sz="2399" b="1">
                <a:solidFill>
                  <a:srgbClr val="F8981D"/>
                </a:solidFill>
              </a:defRPr>
            </a:lvl1pPr>
          </a:lstStyle>
          <a:p>
            <a:r>
              <a:rPr lang="en-US"/>
              <a:t>Click to insert logo or delete box if not needed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6C21BA7-C6D2-446E-8FD2-266107E90C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8912" y="1600200"/>
            <a:ext cx="5413248" cy="3200400"/>
          </a:xfrm>
        </p:spPr>
        <p:txBody>
          <a:bodyPr anchor="b"/>
          <a:lstStyle>
            <a:lvl1pPr marL="169812" indent="-169812">
              <a:buClrTx/>
              <a:buSzPct val="100000"/>
              <a:buFont typeface="Metropolis" panose="00000500000000000000" pitchFamily="2" charset="0"/>
              <a:buChar char="“"/>
              <a:defRPr sz="2799">
                <a:solidFill>
                  <a:schemeClr val="bg1"/>
                </a:solidFill>
              </a:defRPr>
            </a:lvl1pPr>
            <a:lvl2pPr marL="457063" indent="-184095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2pPr>
            <a:lvl3pPr marL="744315" indent="-169812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3pPr>
            <a:lvl4pPr marL="969672" indent="-166638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4pPr>
            <a:lvl5pPr marL="1142657" indent="-138072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762CBDD-60C2-443D-88B5-C596896049D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649" y="5065776"/>
            <a:ext cx="4581144" cy="274320"/>
          </a:xfrm>
        </p:spPr>
        <p:txBody>
          <a:bodyPr/>
          <a:lstStyle>
            <a:lvl1pPr>
              <a:defRPr sz="17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ource Name</a:t>
            </a:r>
          </a:p>
        </p:txBody>
      </p:sp>
    </p:spTree>
    <p:extLst>
      <p:ext uri="{BB962C8B-B14F-4D97-AF65-F5344CB8AC3E}">
        <p14:creationId xmlns:p14="http://schemas.microsoft.com/office/powerpoint/2010/main" val="1605562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–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89834265-B4D7-4504-9C1C-C962DD96E4D9}"/>
              </a:ext>
            </a:extLst>
          </p:cNvPr>
          <p:cNvSpPr/>
          <p:nvPr userDrawn="1"/>
        </p:nvSpPr>
        <p:spPr>
          <a:xfrm rot="2700000">
            <a:off x="1156508" y="-4493128"/>
            <a:ext cx="7499811" cy="13467847"/>
          </a:xfrm>
          <a:custGeom>
            <a:avLst/>
            <a:gdLst>
              <a:gd name="connsiteX0" fmla="*/ 0 w 7499811"/>
              <a:gd name="connsiteY0" fmla="*/ 7314868 h 13467847"/>
              <a:gd name="connsiteX1" fmla="*/ 7314868 w 7499811"/>
              <a:gd name="connsiteY1" fmla="*/ 0 h 13467847"/>
              <a:gd name="connsiteX2" fmla="*/ 7499811 w 7499811"/>
              <a:gd name="connsiteY2" fmla="*/ 184942 h 13467847"/>
              <a:gd name="connsiteX3" fmla="*/ 7499811 w 7499811"/>
              <a:gd name="connsiteY3" fmla="*/ 9513150 h 13467847"/>
              <a:gd name="connsiteX4" fmla="*/ 3545114 w 7499811"/>
              <a:gd name="connsiteY4" fmla="*/ 13467847 h 13467847"/>
              <a:gd name="connsiteX5" fmla="*/ 0 w 7499811"/>
              <a:gd name="connsiteY5" fmla="*/ 9922733 h 13467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9811" h="13467847">
                <a:moveTo>
                  <a:pt x="0" y="7314868"/>
                </a:moveTo>
                <a:lnTo>
                  <a:pt x="7314868" y="0"/>
                </a:lnTo>
                <a:lnTo>
                  <a:pt x="7499811" y="184942"/>
                </a:lnTo>
                <a:lnTo>
                  <a:pt x="7499811" y="9513150"/>
                </a:lnTo>
                <a:lnTo>
                  <a:pt x="3545114" y="13467847"/>
                </a:lnTo>
                <a:lnTo>
                  <a:pt x="0" y="9922733"/>
                </a:lnTo>
                <a:close/>
              </a:path>
            </a:pathLst>
          </a:custGeom>
          <a:gradFill>
            <a:gsLst>
              <a:gs pos="24000">
                <a:schemeClr val="accent3"/>
              </a:gs>
              <a:gs pos="87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12F29CAF-76E7-4387-BEA8-66F482EB65A2}"/>
              </a:ext>
            </a:extLst>
          </p:cNvPr>
          <p:cNvSpPr/>
          <p:nvPr userDrawn="1"/>
        </p:nvSpPr>
        <p:spPr>
          <a:xfrm rot="2700000">
            <a:off x="7032715" y="-169135"/>
            <a:ext cx="1042026" cy="8663939"/>
          </a:xfrm>
          <a:custGeom>
            <a:avLst/>
            <a:gdLst>
              <a:gd name="connsiteX0" fmla="*/ 0 w 1042026"/>
              <a:gd name="connsiteY0" fmla="*/ 0 h 8663939"/>
              <a:gd name="connsiteX1" fmla="*/ 1042026 w 1042026"/>
              <a:gd name="connsiteY1" fmla="*/ 0 h 8663939"/>
              <a:gd name="connsiteX2" fmla="*/ 1042026 w 1042026"/>
              <a:gd name="connsiteY2" fmla="*/ 7621913 h 8663939"/>
              <a:gd name="connsiteX3" fmla="*/ 0 w 1042026"/>
              <a:gd name="connsiteY3" fmla="*/ 8663939 h 86639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2026" h="8663939">
                <a:moveTo>
                  <a:pt x="0" y="0"/>
                </a:moveTo>
                <a:lnTo>
                  <a:pt x="1042026" y="0"/>
                </a:lnTo>
                <a:lnTo>
                  <a:pt x="1042026" y="7621913"/>
                </a:lnTo>
                <a:lnTo>
                  <a:pt x="0" y="8663939"/>
                </a:lnTo>
                <a:close/>
              </a:path>
            </a:pathLst>
          </a:custGeom>
          <a:gradFill>
            <a:gsLst>
              <a:gs pos="24000">
                <a:schemeClr val="accent3"/>
              </a:gs>
              <a:gs pos="80511">
                <a:schemeClr val="bg1">
                  <a:alpha val="76000"/>
                </a:schemeClr>
              </a:gs>
              <a:gs pos="100000">
                <a:schemeClr val="bg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48347C3-DAFD-4322-8B75-FAADCB97A100}"/>
              </a:ext>
            </a:extLst>
          </p:cNvPr>
          <p:cNvSpPr txBox="1"/>
          <p:nvPr userDrawn="1"/>
        </p:nvSpPr>
        <p:spPr bwMode="white"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A840448-0A4C-4F83-A1CE-7B630AF6D91D}"/>
              </a:ext>
            </a:extLst>
          </p:cNvPr>
          <p:cNvGrpSpPr/>
          <p:nvPr userDrawn="1"/>
        </p:nvGrpSpPr>
        <p:grpSpPr>
          <a:xfrm>
            <a:off x="608013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33BBD7F2-6BDB-40F5-BE43-2E5C642F40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1898F8B4-B178-4326-B6D0-C409F52A5D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04FAC758-8579-4948-8E17-F881282AF52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9BC37D6E-0610-40BC-A869-ED4C24F40DA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id="{0AD2EDE2-8C04-4779-942A-CD00356199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id="{B9B95322-EB86-42B6-BCDB-3C38F71CED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32" name="Freeform 12">
              <a:extLst>
                <a:ext uri="{FF2B5EF4-FFF2-40B4-BE49-F238E27FC236}">
                  <a16:creationId xmlns:a16="http://schemas.microsoft.com/office/drawing/2014/main" id="{20532F85-7A34-4927-9486-A847F29CF7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10DCB4EB-8A9B-485D-A968-34B397B482C3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fidential   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©2019 VMware, Inc.</a:t>
            </a:r>
          </a:p>
        </p:txBody>
      </p:sp>
      <p:sp>
        <p:nvSpPr>
          <p:cNvPr id="41" name="Picture Placeholder 184">
            <a:extLst>
              <a:ext uri="{FF2B5EF4-FFF2-40B4-BE49-F238E27FC236}">
                <a16:creationId xmlns:a16="http://schemas.microsoft.com/office/drawing/2014/main" id="{997DC603-F304-4357-BF7F-19215EB70C5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523152" y="4619335"/>
            <a:ext cx="2740025" cy="1371600"/>
          </a:xfrm>
          <a:noFill/>
        </p:spPr>
        <p:txBody>
          <a:bodyPr anchor="ctr"/>
          <a:lstStyle>
            <a:lvl1pPr algn="ctr">
              <a:defRPr sz="2399" b="1">
                <a:solidFill>
                  <a:srgbClr val="F8981D"/>
                </a:solidFill>
              </a:defRPr>
            </a:lvl1pPr>
          </a:lstStyle>
          <a:p>
            <a:r>
              <a:rPr lang="en-US"/>
              <a:t>Click to insert logo or delete box if not needed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6C21BA7-C6D2-446E-8FD2-266107E90C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8912" y="1600200"/>
            <a:ext cx="5413248" cy="3200400"/>
          </a:xfrm>
        </p:spPr>
        <p:txBody>
          <a:bodyPr anchor="b"/>
          <a:lstStyle>
            <a:lvl1pPr marL="169812" indent="-169812">
              <a:buClrTx/>
              <a:buSzPct val="100000"/>
              <a:buFont typeface="Metropolis" panose="00000500000000000000" pitchFamily="2" charset="0"/>
              <a:buChar char="“"/>
              <a:defRPr sz="2799">
                <a:solidFill>
                  <a:schemeClr val="bg1"/>
                </a:solidFill>
              </a:defRPr>
            </a:lvl1pPr>
            <a:lvl2pPr marL="457063" indent="-184095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2pPr>
            <a:lvl3pPr marL="744315" indent="-169812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3pPr>
            <a:lvl4pPr marL="969672" indent="-166638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4pPr>
            <a:lvl5pPr marL="1142657" indent="-138072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762CBDD-60C2-443D-88B5-C596896049D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649" y="5065776"/>
            <a:ext cx="4581144" cy="274320"/>
          </a:xfrm>
        </p:spPr>
        <p:txBody>
          <a:bodyPr/>
          <a:lstStyle>
            <a:lvl1pPr>
              <a:defRPr sz="17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ource Name</a:t>
            </a:r>
          </a:p>
        </p:txBody>
      </p:sp>
    </p:spTree>
    <p:extLst>
      <p:ext uri="{BB962C8B-B14F-4D97-AF65-F5344CB8AC3E}">
        <p14:creationId xmlns:p14="http://schemas.microsoft.com/office/powerpoint/2010/main" val="1908132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with Photo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6AB501C1-9DF6-44B6-A147-29CFF5E96E50}"/>
              </a:ext>
            </a:extLst>
          </p:cNvPr>
          <p:cNvSpPr/>
          <p:nvPr userDrawn="1"/>
        </p:nvSpPr>
        <p:spPr>
          <a:xfrm rot="2700000">
            <a:off x="969033" y="-4049006"/>
            <a:ext cx="6293364" cy="12454818"/>
          </a:xfrm>
          <a:custGeom>
            <a:avLst/>
            <a:gdLst>
              <a:gd name="connsiteX0" fmla="*/ 0 w 6293364"/>
              <a:gd name="connsiteY0" fmla="*/ 6293364 h 12454818"/>
              <a:gd name="connsiteX1" fmla="*/ 6293364 w 6293364"/>
              <a:gd name="connsiteY1" fmla="*/ 0 h 12454818"/>
              <a:gd name="connsiteX2" fmla="*/ 6293364 w 6293364"/>
              <a:gd name="connsiteY2" fmla="*/ 9715045 h 12454818"/>
              <a:gd name="connsiteX3" fmla="*/ 3553591 w 6293364"/>
              <a:gd name="connsiteY3" fmla="*/ 12454818 h 12454818"/>
              <a:gd name="connsiteX4" fmla="*/ 0 w 6293364"/>
              <a:gd name="connsiteY4" fmla="*/ 8901227 h 12454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93364" h="12454818">
                <a:moveTo>
                  <a:pt x="0" y="6293364"/>
                </a:moveTo>
                <a:lnTo>
                  <a:pt x="6293364" y="0"/>
                </a:lnTo>
                <a:lnTo>
                  <a:pt x="6293364" y="9715045"/>
                </a:lnTo>
                <a:lnTo>
                  <a:pt x="3553591" y="12454818"/>
                </a:lnTo>
                <a:lnTo>
                  <a:pt x="0" y="8901227"/>
                </a:lnTo>
                <a:close/>
              </a:path>
            </a:pathLst>
          </a:custGeom>
          <a:gradFill>
            <a:gsLst>
              <a:gs pos="24000">
                <a:schemeClr val="accent4">
                  <a:alpha val="46000"/>
                </a:schemeClr>
              </a:gs>
              <a:gs pos="79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48347C3-DAFD-4322-8B75-FAADCB97A100}"/>
              </a:ext>
            </a:extLst>
          </p:cNvPr>
          <p:cNvSpPr txBox="1"/>
          <p:nvPr userDrawn="1"/>
        </p:nvSpPr>
        <p:spPr bwMode="white"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A840448-0A4C-4F83-A1CE-7B630AF6D91D}"/>
              </a:ext>
            </a:extLst>
          </p:cNvPr>
          <p:cNvGrpSpPr/>
          <p:nvPr userDrawn="1"/>
        </p:nvGrpSpPr>
        <p:grpSpPr>
          <a:xfrm>
            <a:off x="608013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33BBD7F2-6BDB-40F5-BE43-2E5C642F40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1898F8B4-B178-4326-B6D0-C409F52A5D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04FAC758-8579-4948-8E17-F881282AF52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9BC37D6E-0610-40BC-A869-ED4C24F40DA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id="{0AD2EDE2-8C04-4779-942A-CD00356199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id="{B9B95322-EB86-42B6-BCDB-3C38F71CED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32" name="Freeform 12">
              <a:extLst>
                <a:ext uri="{FF2B5EF4-FFF2-40B4-BE49-F238E27FC236}">
                  <a16:creationId xmlns:a16="http://schemas.microsoft.com/office/drawing/2014/main" id="{20532F85-7A34-4927-9486-A847F29CF7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10DCB4EB-8A9B-485D-A968-34B397B482C3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fidential   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©2019 VMware, Inc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6C21BA7-C6D2-446E-8FD2-266107E90C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8912" y="1600200"/>
            <a:ext cx="5413248" cy="3200400"/>
          </a:xfrm>
        </p:spPr>
        <p:txBody>
          <a:bodyPr anchor="b"/>
          <a:lstStyle>
            <a:lvl1pPr marL="169812" indent="-169812">
              <a:buClrTx/>
              <a:buSzPct val="100000"/>
              <a:buFont typeface="Metropolis" panose="00000500000000000000" pitchFamily="2" charset="0"/>
              <a:buChar char="“"/>
              <a:defRPr sz="2799">
                <a:solidFill>
                  <a:schemeClr val="bg1"/>
                </a:solidFill>
              </a:defRPr>
            </a:lvl1pPr>
            <a:lvl2pPr marL="457063" indent="-184095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2pPr>
            <a:lvl3pPr marL="744315" indent="-169812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3pPr>
            <a:lvl4pPr marL="969672" indent="-166638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4pPr>
            <a:lvl5pPr marL="1142657" indent="-138072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762CBDD-60C2-443D-88B5-C596896049D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649" y="5065776"/>
            <a:ext cx="4581144" cy="274320"/>
          </a:xfrm>
        </p:spPr>
        <p:txBody>
          <a:bodyPr/>
          <a:lstStyle>
            <a:lvl1pPr>
              <a:defRPr sz="17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ource Name</a:t>
            </a:r>
          </a:p>
        </p:txBody>
      </p:sp>
    </p:spTree>
    <p:extLst>
      <p:ext uri="{BB962C8B-B14F-4D97-AF65-F5344CB8AC3E}">
        <p14:creationId xmlns:p14="http://schemas.microsoft.com/office/powerpoint/2010/main" val="934548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with Photo – Purp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6AB501C1-9DF6-44B6-A147-29CFF5E96E50}"/>
              </a:ext>
            </a:extLst>
          </p:cNvPr>
          <p:cNvSpPr/>
          <p:nvPr userDrawn="1"/>
        </p:nvSpPr>
        <p:spPr>
          <a:xfrm rot="2700000">
            <a:off x="969033" y="-4049006"/>
            <a:ext cx="6293364" cy="12454818"/>
          </a:xfrm>
          <a:custGeom>
            <a:avLst/>
            <a:gdLst>
              <a:gd name="connsiteX0" fmla="*/ 0 w 6293364"/>
              <a:gd name="connsiteY0" fmla="*/ 6293364 h 12454818"/>
              <a:gd name="connsiteX1" fmla="*/ 6293364 w 6293364"/>
              <a:gd name="connsiteY1" fmla="*/ 0 h 12454818"/>
              <a:gd name="connsiteX2" fmla="*/ 6293364 w 6293364"/>
              <a:gd name="connsiteY2" fmla="*/ 9715045 h 12454818"/>
              <a:gd name="connsiteX3" fmla="*/ 3553591 w 6293364"/>
              <a:gd name="connsiteY3" fmla="*/ 12454818 h 12454818"/>
              <a:gd name="connsiteX4" fmla="*/ 0 w 6293364"/>
              <a:gd name="connsiteY4" fmla="*/ 8901227 h 12454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93364" h="12454818">
                <a:moveTo>
                  <a:pt x="0" y="6293364"/>
                </a:moveTo>
                <a:lnTo>
                  <a:pt x="6293364" y="0"/>
                </a:lnTo>
                <a:lnTo>
                  <a:pt x="6293364" y="9715045"/>
                </a:lnTo>
                <a:lnTo>
                  <a:pt x="3553591" y="12454818"/>
                </a:lnTo>
                <a:lnTo>
                  <a:pt x="0" y="8901227"/>
                </a:lnTo>
                <a:close/>
              </a:path>
            </a:pathLst>
          </a:custGeom>
          <a:gradFill>
            <a:gsLst>
              <a:gs pos="0">
                <a:srgbClr val="7F35AB">
                  <a:alpha val="27000"/>
                </a:srgbClr>
              </a:gs>
              <a:gs pos="82000">
                <a:srgbClr val="264088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48347C3-DAFD-4322-8B75-FAADCB97A100}"/>
              </a:ext>
            </a:extLst>
          </p:cNvPr>
          <p:cNvSpPr txBox="1"/>
          <p:nvPr userDrawn="1"/>
        </p:nvSpPr>
        <p:spPr bwMode="white"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A840448-0A4C-4F83-A1CE-7B630AF6D91D}"/>
              </a:ext>
            </a:extLst>
          </p:cNvPr>
          <p:cNvGrpSpPr/>
          <p:nvPr userDrawn="1"/>
        </p:nvGrpSpPr>
        <p:grpSpPr>
          <a:xfrm>
            <a:off x="608013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33BBD7F2-6BDB-40F5-BE43-2E5C642F40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1898F8B4-B178-4326-B6D0-C409F52A5D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04FAC758-8579-4948-8E17-F881282AF52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9BC37D6E-0610-40BC-A869-ED4C24F40DA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id="{0AD2EDE2-8C04-4779-942A-CD00356199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id="{B9B95322-EB86-42B6-BCDB-3C38F71CED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32" name="Freeform 12">
              <a:extLst>
                <a:ext uri="{FF2B5EF4-FFF2-40B4-BE49-F238E27FC236}">
                  <a16:creationId xmlns:a16="http://schemas.microsoft.com/office/drawing/2014/main" id="{20532F85-7A34-4927-9486-A847F29CF7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10DCB4EB-8A9B-485D-A968-34B397B482C3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fidential   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©2019 VMware, Inc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6C21BA7-C6D2-446E-8FD2-266107E90C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8912" y="1600200"/>
            <a:ext cx="5413248" cy="3200400"/>
          </a:xfrm>
        </p:spPr>
        <p:txBody>
          <a:bodyPr anchor="b"/>
          <a:lstStyle>
            <a:lvl1pPr marL="169812" indent="-169812">
              <a:buClrTx/>
              <a:buSzPct val="100000"/>
              <a:buFont typeface="Metropolis" panose="00000500000000000000" pitchFamily="2" charset="0"/>
              <a:buChar char="“"/>
              <a:defRPr sz="2799">
                <a:solidFill>
                  <a:schemeClr val="bg1"/>
                </a:solidFill>
              </a:defRPr>
            </a:lvl1pPr>
            <a:lvl2pPr marL="457063" indent="-184095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2pPr>
            <a:lvl3pPr marL="744315" indent="-169812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3pPr>
            <a:lvl4pPr marL="969672" indent="-166638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4pPr>
            <a:lvl5pPr marL="1142657" indent="-138072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762CBDD-60C2-443D-88B5-C596896049D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649" y="5065776"/>
            <a:ext cx="4581144" cy="274320"/>
          </a:xfrm>
        </p:spPr>
        <p:txBody>
          <a:bodyPr/>
          <a:lstStyle>
            <a:lvl1pPr>
              <a:defRPr sz="17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ource Name</a:t>
            </a:r>
          </a:p>
        </p:txBody>
      </p:sp>
    </p:spTree>
    <p:extLst>
      <p:ext uri="{BB962C8B-B14F-4D97-AF65-F5344CB8AC3E}">
        <p14:creationId xmlns:p14="http://schemas.microsoft.com/office/powerpoint/2010/main" val="2861365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with Photo –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6AB501C1-9DF6-44B6-A147-29CFF5E96E50}"/>
              </a:ext>
            </a:extLst>
          </p:cNvPr>
          <p:cNvSpPr/>
          <p:nvPr userDrawn="1"/>
        </p:nvSpPr>
        <p:spPr>
          <a:xfrm rot="2700000">
            <a:off x="969033" y="-4049006"/>
            <a:ext cx="6293364" cy="12454818"/>
          </a:xfrm>
          <a:custGeom>
            <a:avLst/>
            <a:gdLst>
              <a:gd name="connsiteX0" fmla="*/ 0 w 6293364"/>
              <a:gd name="connsiteY0" fmla="*/ 6293364 h 12454818"/>
              <a:gd name="connsiteX1" fmla="*/ 6293364 w 6293364"/>
              <a:gd name="connsiteY1" fmla="*/ 0 h 12454818"/>
              <a:gd name="connsiteX2" fmla="*/ 6293364 w 6293364"/>
              <a:gd name="connsiteY2" fmla="*/ 9715045 h 12454818"/>
              <a:gd name="connsiteX3" fmla="*/ 3553591 w 6293364"/>
              <a:gd name="connsiteY3" fmla="*/ 12454818 h 12454818"/>
              <a:gd name="connsiteX4" fmla="*/ 0 w 6293364"/>
              <a:gd name="connsiteY4" fmla="*/ 8901227 h 12454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93364" h="12454818">
                <a:moveTo>
                  <a:pt x="0" y="6293364"/>
                </a:moveTo>
                <a:lnTo>
                  <a:pt x="6293364" y="0"/>
                </a:lnTo>
                <a:lnTo>
                  <a:pt x="6293364" y="9715045"/>
                </a:lnTo>
                <a:lnTo>
                  <a:pt x="3553591" y="12454818"/>
                </a:lnTo>
                <a:lnTo>
                  <a:pt x="0" y="8901227"/>
                </a:lnTo>
                <a:close/>
              </a:path>
            </a:pathLst>
          </a:custGeom>
          <a:gradFill>
            <a:gsLst>
              <a:gs pos="24000">
                <a:schemeClr val="accent3">
                  <a:alpha val="40000"/>
                </a:schemeClr>
              </a:gs>
              <a:gs pos="82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48347C3-DAFD-4322-8B75-FAADCB97A100}"/>
              </a:ext>
            </a:extLst>
          </p:cNvPr>
          <p:cNvSpPr txBox="1"/>
          <p:nvPr userDrawn="1"/>
        </p:nvSpPr>
        <p:spPr bwMode="white"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A840448-0A4C-4F83-A1CE-7B630AF6D91D}"/>
              </a:ext>
            </a:extLst>
          </p:cNvPr>
          <p:cNvGrpSpPr/>
          <p:nvPr userDrawn="1"/>
        </p:nvGrpSpPr>
        <p:grpSpPr>
          <a:xfrm>
            <a:off x="608013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33BBD7F2-6BDB-40F5-BE43-2E5C642F40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1898F8B4-B178-4326-B6D0-C409F52A5D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04FAC758-8579-4948-8E17-F881282AF52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9BC37D6E-0610-40BC-A869-ED4C24F40DA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id="{0AD2EDE2-8C04-4779-942A-CD00356199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id="{B9B95322-EB86-42B6-BCDB-3C38F71CED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32" name="Freeform 12">
              <a:extLst>
                <a:ext uri="{FF2B5EF4-FFF2-40B4-BE49-F238E27FC236}">
                  <a16:creationId xmlns:a16="http://schemas.microsoft.com/office/drawing/2014/main" id="{20532F85-7A34-4927-9486-A847F29CF7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10DCB4EB-8A9B-485D-A968-34B397B482C3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fidential   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©2019 VMware, Inc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6C21BA7-C6D2-446E-8FD2-266107E90C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8912" y="1600200"/>
            <a:ext cx="5413248" cy="3200400"/>
          </a:xfrm>
        </p:spPr>
        <p:txBody>
          <a:bodyPr anchor="b"/>
          <a:lstStyle>
            <a:lvl1pPr marL="169812" indent="-169812">
              <a:buClrTx/>
              <a:buSzPct val="100000"/>
              <a:buFont typeface="Metropolis" panose="00000500000000000000" pitchFamily="2" charset="0"/>
              <a:buChar char="“"/>
              <a:defRPr sz="2799">
                <a:solidFill>
                  <a:schemeClr val="bg1"/>
                </a:solidFill>
              </a:defRPr>
            </a:lvl1pPr>
            <a:lvl2pPr marL="457063" indent="-184095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2pPr>
            <a:lvl3pPr marL="744315" indent="-169812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3pPr>
            <a:lvl4pPr marL="969672" indent="-166638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4pPr>
            <a:lvl5pPr marL="1142657" indent="-138072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762CBDD-60C2-443D-88B5-C596896049D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649" y="5065776"/>
            <a:ext cx="4581144" cy="274320"/>
          </a:xfrm>
        </p:spPr>
        <p:txBody>
          <a:bodyPr/>
          <a:lstStyle>
            <a:lvl1pPr>
              <a:defRPr sz="17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ource Name</a:t>
            </a:r>
          </a:p>
        </p:txBody>
      </p:sp>
    </p:spTree>
    <p:extLst>
      <p:ext uri="{BB962C8B-B14F-4D97-AF65-F5344CB8AC3E}">
        <p14:creationId xmlns:p14="http://schemas.microsoft.com/office/powerpoint/2010/main" val="1943260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with Photo – Whi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6AB501C1-9DF6-44B6-A147-29CFF5E96E50}"/>
              </a:ext>
            </a:extLst>
          </p:cNvPr>
          <p:cNvSpPr/>
          <p:nvPr userDrawn="1"/>
        </p:nvSpPr>
        <p:spPr>
          <a:xfrm rot="2700000">
            <a:off x="969033" y="-4049006"/>
            <a:ext cx="6293364" cy="12454818"/>
          </a:xfrm>
          <a:custGeom>
            <a:avLst/>
            <a:gdLst>
              <a:gd name="connsiteX0" fmla="*/ 0 w 6293364"/>
              <a:gd name="connsiteY0" fmla="*/ 6293364 h 12454818"/>
              <a:gd name="connsiteX1" fmla="*/ 6293364 w 6293364"/>
              <a:gd name="connsiteY1" fmla="*/ 0 h 12454818"/>
              <a:gd name="connsiteX2" fmla="*/ 6293364 w 6293364"/>
              <a:gd name="connsiteY2" fmla="*/ 9715045 h 12454818"/>
              <a:gd name="connsiteX3" fmla="*/ 3553591 w 6293364"/>
              <a:gd name="connsiteY3" fmla="*/ 12454818 h 12454818"/>
              <a:gd name="connsiteX4" fmla="*/ 0 w 6293364"/>
              <a:gd name="connsiteY4" fmla="*/ 8901227 h 12454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93364" h="12454818">
                <a:moveTo>
                  <a:pt x="0" y="6293364"/>
                </a:moveTo>
                <a:lnTo>
                  <a:pt x="6293364" y="0"/>
                </a:lnTo>
                <a:lnTo>
                  <a:pt x="6293364" y="9715045"/>
                </a:lnTo>
                <a:lnTo>
                  <a:pt x="3553591" y="12454818"/>
                </a:lnTo>
                <a:lnTo>
                  <a:pt x="0" y="8901227"/>
                </a:lnTo>
                <a:close/>
              </a:path>
            </a:pathLst>
          </a:custGeom>
          <a:gradFill>
            <a:gsLst>
              <a:gs pos="18000">
                <a:schemeClr val="bg1">
                  <a:alpha val="25000"/>
                </a:schemeClr>
              </a:gs>
              <a:gs pos="46000">
                <a:srgbClr val="FFFFFF">
                  <a:alpha val="64000"/>
                </a:srgbClr>
              </a:gs>
              <a:gs pos="77000">
                <a:schemeClr val="bg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48347C3-DAFD-4322-8B75-FAADCB97A100}"/>
              </a:ext>
            </a:extLst>
          </p:cNvPr>
          <p:cNvSpPr txBox="1"/>
          <p:nvPr userDrawn="1"/>
        </p:nvSpPr>
        <p:spPr bwMode="white"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A840448-0A4C-4F83-A1CE-7B630AF6D91D}"/>
              </a:ext>
            </a:extLst>
          </p:cNvPr>
          <p:cNvGrpSpPr/>
          <p:nvPr userDrawn="1"/>
        </p:nvGrpSpPr>
        <p:grpSpPr>
          <a:xfrm>
            <a:off x="608013" y="6445106"/>
            <a:ext cx="1184397" cy="186690"/>
            <a:chOff x="863272" y="6563918"/>
            <a:chExt cx="861082" cy="135727"/>
          </a:xfrm>
          <a:solidFill>
            <a:schemeClr val="tx1"/>
          </a:solidFill>
        </p:grpSpPr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33BBD7F2-6BDB-40F5-BE43-2E5C642F40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1898F8B4-B178-4326-B6D0-C409F52A5D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04FAC758-8579-4948-8E17-F881282AF52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9BC37D6E-0610-40BC-A869-ED4C24F40DA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id="{0AD2EDE2-8C04-4779-942A-CD00356199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id="{B9B95322-EB86-42B6-BCDB-3C38F71CED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32" name="Freeform 12">
              <a:extLst>
                <a:ext uri="{FF2B5EF4-FFF2-40B4-BE49-F238E27FC236}">
                  <a16:creationId xmlns:a16="http://schemas.microsoft.com/office/drawing/2014/main" id="{20532F85-7A34-4927-9486-A847F29CF7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10DCB4EB-8A9B-485D-A968-34B397B482C3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©2019 VMware, Inc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6C21BA7-C6D2-446E-8FD2-266107E90C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8912" y="1600200"/>
            <a:ext cx="5413248" cy="3200400"/>
          </a:xfrm>
        </p:spPr>
        <p:txBody>
          <a:bodyPr anchor="b"/>
          <a:lstStyle>
            <a:lvl1pPr marL="169812" indent="-169812">
              <a:buClrTx/>
              <a:buSzPct val="100000"/>
              <a:buFont typeface="Metropolis" panose="00000500000000000000" pitchFamily="2" charset="0"/>
              <a:buChar char="“"/>
              <a:defRPr sz="2799">
                <a:solidFill>
                  <a:schemeClr val="tx2"/>
                </a:solidFill>
              </a:defRPr>
            </a:lvl1pPr>
            <a:lvl2pPr marL="457063" indent="-184095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2pPr>
            <a:lvl3pPr marL="744315" indent="-169812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3pPr>
            <a:lvl4pPr marL="969672" indent="-166638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4pPr>
            <a:lvl5pPr marL="1142657" indent="-138072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762CBDD-60C2-443D-88B5-C596896049D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649" y="5065776"/>
            <a:ext cx="4581144" cy="274320"/>
          </a:xfrm>
        </p:spPr>
        <p:txBody>
          <a:bodyPr/>
          <a:lstStyle>
            <a:lvl1pPr>
              <a:defRPr sz="1799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Source Name</a:t>
            </a:r>
          </a:p>
        </p:txBody>
      </p:sp>
    </p:spTree>
    <p:extLst>
      <p:ext uri="{BB962C8B-B14F-4D97-AF65-F5344CB8AC3E}">
        <p14:creationId xmlns:p14="http://schemas.microsoft.com/office/powerpoint/2010/main" val="3116468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D034FA3F-D529-4D8B-B6EC-A8341FCAF67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16505" y="1600201"/>
            <a:ext cx="10972800" cy="4572000"/>
          </a:xfrm>
        </p:spPr>
        <p:txBody>
          <a:bodyPr/>
          <a:lstStyle>
            <a:lvl1pPr>
              <a:spcBef>
                <a:spcPts val="1500"/>
              </a:spcBef>
              <a:defRPr/>
            </a:lvl1pPr>
            <a:lvl2pPr>
              <a:spcBef>
                <a:spcPts val="300"/>
              </a:spcBef>
              <a:defRPr/>
            </a:lvl2pPr>
            <a:lvl5pPr>
              <a:defRPr/>
            </a:lvl5pPr>
            <a:lvl6pPr>
              <a:defRPr/>
            </a:lvl6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27E3E8B-0F66-4996-9785-6E9531D89A5A}"/>
              </a:ext>
            </a:extLst>
          </p:cNvPr>
          <p:cNvSpPr txBox="1"/>
          <p:nvPr userDrawn="1"/>
        </p:nvSpPr>
        <p:spPr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latin typeface="+mj-lt"/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216D2F66-BB7F-4F0E-A224-A105F87676EF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7" y="811831"/>
            <a:ext cx="1098794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999">
                <a:solidFill>
                  <a:schemeClr val="accent4"/>
                </a:solidFill>
                <a:latin typeface="+mn-lt"/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924E83-0498-4D8B-94A0-3FF7CDD8F1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One Line Title</a:t>
            </a:r>
          </a:p>
        </p:txBody>
      </p:sp>
    </p:spTree>
    <p:extLst>
      <p:ext uri="{BB962C8B-B14F-4D97-AF65-F5344CB8AC3E}">
        <p14:creationId xmlns:p14="http://schemas.microsoft.com/office/powerpoint/2010/main" val="141599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D034FA3F-D529-4D8B-B6EC-A8341FCAF67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16505" y="1600201"/>
            <a:ext cx="10972800" cy="4572000"/>
          </a:xfrm>
        </p:spPr>
        <p:txBody>
          <a:bodyPr/>
          <a:lstStyle>
            <a:lvl1pPr>
              <a:spcBef>
                <a:spcPts val="1500"/>
              </a:spcBef>
              <a:defRPr/>
            </a:lvl1pPr>
            <a:lvl2pPr>
              <a:spcBef>
                <a:spcPts val="300"/>
              </a:spcBef>
              <a:defRPr/>
            </a:lvl2pPr>
            <a:lvl5pPr>
              <a:defRPr/>
            </a:lvl5pPr>
            <a:lvl6pPr>
              <a:defRPr/>
            </a:lvl6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27E3E8B-0F66-4996-9785-6E9531D89A5A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dirty="0">
              <a:latin typeface="+mj-lt"/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216D2F66-BB7F-4F0E-A224-A105F87676EF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11830"/>
            <a:ext cx="1098794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924E83-0498-4D8B-94A0-3FF7CDD8F1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One Line Title</a:t>
            </a:r>
          </a:p>
        </p:txBody>
      </p:sp>
    </p:spTree>
    <p:extLst>
      <p:ext uri="{BB962C8B-B14F-4D97-AF65-F5344CB8AC3E}">
        <p14:creationId xmlns:p14="http://schemas.microsoft.com/office/powerpoint/2010/main" val="3781022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8950B906-C5A3-4658-B24C-B2B533310D26}"/>
              </a:ext>
            </a:extLst>
          </p:cNvPr>
          <p:cNvSpPr txBox="1"/>
          <p:nvPr userDrawn="1"/>
        </p:nvSpPr>
        <p:spPr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latin typeface="+mj-lt"/>
            </a:endParaRP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C28211D2-9BBA-4EB9-8867-E2CC72E9E0D1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7" y="811831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999">
                <a:solidFill>
                  <a:schemeClr val="accent4"/>
                </a:solidFill>
                <a:latin typeface="+mn-lt"/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D90EF1-7A6F-4CAE-80CD-2BC8A8107F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One Line Title</a:t>
            </a:r>
          </a:p>
        </p:txBody>
      </p:sp>
    </p:spTree>
    <p:extLst>
      <p:ext uri="{BB962C8B-B14F-4D97-AF65-F5344CB8AC3E}">
        <p14:creationId xmlns:p14="http://schemas.microsoft.com/office/powerpoint/2010/main" val="2292916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Content Balanc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B6A9629E-98B5-43F5-8323-C894B734208A}"/>
              </a:ext>
            </a:extLst>
          </p:cNvPr>
          <p:cNvSpPr txBox="1"/>
          <p:nvPr userDrawn="1"/>
        </p:nvSpPr>
        <p:spPr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00E4C6-16B5-49A9-898A-3B53C5AB06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One Line Tit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38535540-CB20-4CD5-9F73-DB64F5A49CD3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7" y="811831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999">
                <a:solidFill>
                  <a:schemeClr val="accent4"/>
                </a:solidFill>
                <a:latin typeface="+mn-lt"/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7AF420A-ED2C-4AD1-A28B-EB26178557D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0" y="1600200"/>
            <a:ext cx="5893593" cy="4572000"/>
          </a:xfrm>
        </p:spPr>
        <p:txBody>
          <a:bodyPr lIns="594360"/>
          <a:lstStyle>
            <a:lvl1pPr>
              <a:defRPr sz="1799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799"/>
            </a:lvl6pPr>
            <a:lvl7pPr>
              <a:defRPr sz="1400"/>
            </a:lvl7pPr>
            <a:lvl8pPr>
              <a:defRPr sz="1200"/>
            </a:lvl8pPr>
            <a:lvl9pPr>
              <a:defRPr sz="1799"/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5"/>
            <a:endParaRPr lang="en-US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CD860A49-A98C-4F0E-AB34-4E13B89D5EBC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321287" y="1600200"/>
            <a:ext cx="5867538" cy="4572000"/>
          </a:xfrm>
        </p:spPr>
        <p:txBody>
          <a:bodyPr lIns="0" rIns="594360"/>
          <a:lstStyle>
            <a:lvl1pPr>
              <a:defRPr sz="1799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799"/>
            </a:lvl6pPr>
            <a:lvl7pPr>
              <a:defRPr sz="1400"/>
            </a:lvl7pPr>
            <a:lvl8pPr>
              <a:defRPr sz="1200"/>
            </a:lvl8pPr>
            <a:lvl9pPr>
              <a:defRPr sz="1799"/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r>
              <a:rPr lang="en-US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520495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Content Balanced –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D034FA3F-D529-4D8B-B6EC-A8341FCAF67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ltGray">
          <a:xfrm>
            <a:off x="1" y="1600201"/>
            <a:ext cx="5893593" cy="4572000"/>
          </a:xfrm>
          <a:solidFill>
            <a:schemeClr val="accent4"/>
          </a:solidFill>
        </p:spPr>
        <p:txBody>
          <a:bodyPr vert="horz" lIns="594360" tIns="457200" rIns="457200" bIns="457200" rtlCol="0">
            <a:noAutofit/>
          </a:bodyPr>
          <a:lstStyle>
            <a:lvl1pPr>
              <a:spcBef>
                <a:spcPts val="1200"/>
              </a:spcBef>
              <a:defRPr lang="en-US" sz="1799" dirty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lang="en-US" sz="1600" dirty="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lang="en-US" sz="1400" dirty="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lang="en-US" sz="1200" dirty="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lang="en-US" sz="1200" dirty="0">
                <a:solidFill>
                  <a:schemeClr val="bg1"/>
                </a:solidFill>
              </a:defRPr>
            </a:lvl5pPr>
            <a:lvl6pPr>
              <a:buClrTx/>
              <a:defRPr sz="1799">
                <a:solidFill>
                  <a:schemeClr val="bg1"/>
                </a:solidFill>
              </a:defRPr>
            </a:lvl6pPr>
            <a:lvl7pPr>
              <a:buClrTx/>
              <a:defRPr sz="1400">
                <a:solidFill>
                  <a:schemeClr val="bg1"/>
                </a:solidFill>
              </a:defRPr>
            </a:lvl7pPr>
            <a:lvl8pPr>
              <a:buClrTx/>
              <a:defRPr sz="1200">
                <a:solidFill>
                  <a:schemeClr val="bg1"/>
                </a:solidFill>
              </a:defRPr>
            </a:lvl8pPr>
            <a:lvl9pPr>
              <a:buClrTx/>
              <a:defRPr sz="17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 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2" name="Content Placeholder 17">
            <a:extLst>
              <a:ext uri="{FF2B5EF4-FFF2-40B4-BE49-F238E27FC236}">
                <a16:creationId xmlns:a16="http://schemas.microsoft.com/office/drawing/2014/main" id="{A0456ED3-FDC5-4E29-B939-E35EA08477CA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 bwMode="ltGray">
          <a:xfrm>
            <a:off x="6323382" y="1600201"/>
            <a:ext cx="5865445" cy="4572000"/>
          </a:xfrm>
          <a:solidFill>
            <a:schemeClr val="accent1"/>
          </a:solidFill>
        </p:spPr>
        <p:txBody>
          <a:bodyPr lIns="457200" tIns="457200" rIns="594360"/>
          <a:lstStyle>
            <a:lvl1pPr>
              <a:spcBef>
                <a:spcPts val="1200"/>
              </a:spcBef>
              <a:defRPr sz="1799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2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6A9629E-98B5-43F5-8323-C894B734208A}"/>
              </a:ext>
            </a:extLst>
          </p:cNvPr>
          <p:cNvSpPr txBox="1"/>
          <p:nvPr userDrawn="1"/>
        </p:nvSpPr>
        <p:spPr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00E4C6-16B5-49A9-898A-3B53C5AB06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One Line Tit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38535540-CB20-4CD5-9F73-DB64F5A49CD3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7" y="811831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999">
                <a:solidFill>
                  <a:schemeClr val="accent4"/>
                </a:solidFill>
                <a:latin typeface="+mn-lt"/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5922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D034FA3F-D529-4D8B-B6EC-A8341FCAF67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1" y="1600201"/>
            <a:ext cx="5866360" cy="4572000"/>
          </a:xfrm>
          <a:solidFill>
            <a:schemeClr val="bg2"/>
          </a:solidFill>
        </p:spPr>
        <p:txBody>
          <a:bodyPr lIns="594360" tIns="1371600" rIns="548640"/>
          <a:lstStyle>
            <a:lvl1pPr>
              <a:spcBef>
                <a:spcPts val="2399"/>
              </a:spcBef>
              <a:defRPr sz="1799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799"/>
            </a:lvl6pPr>
            <a:lvl7pPr>
              <a:defRPr sz="1400"/>
            </a:lvl7pPr>
            <a:lvl8pPr>
              <a:defRPr sz="1200"/>
            </a:lvl8pPr>
            <a:lvl9pPr>
              <a:defRPr sz="1799"/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4"/>
            <a:endParaRPr lang="en-US"/>
          </a:p>
        </p:txBody>
      </p:sp>
      <p:sp>
        <p:nvSpPr>
          <p:cNvPr id="72" name="Content Placeholder 17">
            <a:extLst>
              <a:ext uri="{FF2B5EF4-FFF2-40B4-BE49-F238E27FC236}">
                <a16:creationId xmlns:a16="http://schemas.microsoft.com/office/drawing/2014/main" id="{A0456ED3-FDC5-4E29-B939-E35EA08477CA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 bwMode="gray">
          <a:xfrm>
            <a:off x="6323382" y="1600201"/>
            <a:ext cx="5865445" cy="4572000"/>
          </a:xfrm>
          <a:solidFill>
            <a:schemeClr val="bg2"/>
          </a:solidFill>
        </p:spPr>
        <p:txBody>
          <a:bodyPr lIns="548640" tIns="1371600" rIns="548640"/>
          <a:lstStyle>
            <a:lvl1pPr>
              <a:spcBef>
                <a:spcPts val="2399"/>
              </a:spcBef>
              <a:defRPr sz="1799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799"/>
            </a:lvl6pPr>
            <a:lvl7pPr>
              <a:defRPr sz="1400"/>
            </a:lvl7pPr>
            <a:lvl8pPr>
              <a:defRPr sz="1200"/>
            </a:lvl8pPr>
            <a:lvl9pPr>
              <a:defRPr sz="1799"/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 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8337636-71A7-4831-B382-F842B3A2949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" y="1806124"/>
            <a:ext cx="5637213" cy="911225"/>
          </a:xfrm>
          <a:solidFill>
            <a:schemeClr val="accent4"/>
          </a:solidFill>
        </p:spPr>
        <p:txBody>
          <a:bodyPr vert="horz" lIns="594360" tIns="91440" rIns="457200" bIns="91440" rtlCol="0" anchor="ctr">
            <a:noAutofit/>
          </a:bodyPr>
          <a:lstStyle>
            <a:lvl1pPr>
              <a:defRPr lang="en-US" sz="19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header 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78A74DE7-78E3-4ECA-9661-D73FBD37E48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551613" y="1806124"/>
            <a:ext cx="5637212" cy="911225"/>
          </a:xfrm>
          <a:solidFill>
            <a:schemeClr val="accent1"/>
          </a:solidFill>
        </p:spPr>
        <p:txBody>
          <a:bodyPr vert="horz" lIns="338328" tIns="91440" rIns="612648" bIns="91440" rtlCol="0" anchor="ctr">
            <a:noAutofit/>
          </a:bodyPr>
          <a:lstStyle>
            <a:lvl1pPr>
              <a:defRPr lang="en-US" sz="19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header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92176E5-FE3D-4EA5-BF24-8ABF8BFBF668}"/>
              </a:ext>
            </a:extLst>
          </p:cNvPr>
          <p:cNvSpPr txBox="1"/>
          <p:nvPr userDrawn="1"/>
        </p:nvSpPr>
        <p:spPr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6A1FE0B-90B1-4BED-9AA5-6DC9F6424E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One Line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541C7AA-97CA-4F96-9506-F144DA2CD8E2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7" y="811831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999">
                <a:solidFill>
                  <a:schemeClr val="accent4"/>
                </a:solidFill>
                <a:latin typeface="+mn-lt"/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12058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Dynamic –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A9E4CD6E-324F-4BEC-884B-D217C07BF39E}"/>
              </a:ext>
            </a:extLst>
          </p:cNvPr>
          <p:cNvSpPr txBox="1"/>
          <p:nvPr userDrawn="1"/>
        </p:nvSpPr>
        <p:spPr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346AD2E-9306-49E7-A98B-7D26E458C2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wrap="none"/>
          <a:lstStyle>
            <a:lvl1pPr>
              <a:defRPr/>
            </a:lvl1pPr>
          </a:lstStyle>
          <a:p>
            <a:r>
              <a:rPr lang="en-US"/>
              <a:t>Click to Add One Line Titl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577AE2CA-1B34-4F04-BD7F-F624F20E94FB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351213" y="1600200"/>
            <a:ext cx="8229600" cy="457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551435C2-3F7C-4835-8DB0-71E2C00537CF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7" y="811831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999">
                <a:solidFill>
                  <a:schemeClr val="accent4"/>
                </a:solidFill>
                <a:latin typeface="+mn-lt"/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add 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0FD232-93CB-4B54-A933-93C11B099F7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" y="1600200"/>
            <a:ext cx="2894013" cy="4572000"/>
          </a:xfrm>
          <a:solidFill>
            <a:schemeClr val="accent2"/>
          </a:solidFill>
        </p:spPr>
        <p:txBody>
          <a:bodyPr lIns="594360" tIns="457200" rIns="457200" bIns="457200"/>
          <a:lstStyle>
            <a:lvl1pPr>
              <a:defRPr sz="1600">
                <a:solidFill>
                  <a:schemeClr val="bg1"/>
                </a:solidFill>
              </a:defRPr>
            </a:lvl1pPr>
            <a:lvl2pPr marL="171399" indent="-171399"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 marL="342797" indent="-171399">
              <a:buClr>
                <a:schemeClr val="bg1"/>
              </a:buClr>
              <a:defRPr sz="1200">
                <a:solidFill>
                  <a:schemeClr val="bg1"/>
                </a:solidFill>
              </a:defRPr>
            </a:lvl3pPr>
            <a:lvl4pPr marL="514196" indent="-171399"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 marL="742727" indent="-171399"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 sz="1799"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 sz="1400">
                <a:solidFill>
                  <a:schemeClr val="bg1"/>
                </a:solidFill>
              </a:defRPr>
            </a:lvl7pPr>
            <a:lvl8pPr>
              <a:buClrTx/>
              <a:defRPr sz="1200">
                <a:solidFill>
                  <a:schemeClr val="bg1"/>
                </a:solidFill>
              </a:defRPr>
            </a:lvl8pPr>
            <a:lvl9pPr>
              <a:buClrTx/>
              <a:defRPr sz="17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4212465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Dynamic –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460DEEA-0331-45ED-8943-6F9E7488409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08013" y="1600200"/>
            <a:ext cx="8229600" cy="45720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DE1D12F-78DF-4A32-BDDB-1E22FB9CA5D0}"/>
              </a:ext>
            </a:extLst>
          </p:cNvPr>
          <p:cNvSpPr txBox="1"/>
          <p:nvPr userDrawn="1"/>
        </p:nvSpPr>
        <p:spPr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92A934A-AC6B-460C-9C93-B13CF6B626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wrap="none"/>
          <a:lstStyle>
            <a:lvl1pPr>
              <a:defRPr/>
            </a:lvl1pPr>
          </a:lstStyle>
          <a:p>
            <a:r>
              <a:rPr lang="en-US"/>
              <a:t>Click to Add One Line Tit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F6F5131D-84AE-4294-83A1-243FE1C81A8A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7" y="811831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999">
                <a:solidFill>
                  <a:schemeClr val="accent4"/>
                </a:solidFill>
                <a:latin typeface="+mn-lt"/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197ED16-D162-4BF7-B635-2F70E10855A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94813" y="1600200"/>
            <a:ext cx="2894012" cy="4572000"/>
          </a:xfrm>
          <a:solidFill>
            <a:schemeClr val="accent1"/>
          </a:solidFill>
        </p:spPr>
        <p:txBody>
          <a:bodyPr lIns="457200" tIns="457200" rIns="594360" bIns="457200"/>
          <a:lstStyle>
            <a:lvl1pPr>
              <a:defRPr sz="1600">
                <a:solidFill>
                  <a:schemeClr val="bg1"/>
                </a:solidFill>
              </a:defRPr>
            </a:lvl1pPr>
            <a:lvl2pPr marL="171399" indent="-171399"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 marL="342797" indent="-171399">
              <a:buClr>
                <a:schemeClr val="bg1"/>
              </a:buClr>
              <a:defRPr sz="1200">
                <a:solidFill>
                  <a:schemeClr val="bg1"/>
                </a:solidFill>
              </a:defRPr>
            </a:lvl3pPr>
            <a:lvl4pPr marL="514196" indent="-171399"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 marL="685594" indent="-171399"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 level</a:t>
            </a:r>
          </a:p>
          <a:p>
            <a:pPr lvl="8"/>
            <a:r>
              <a:rPr lang="en-US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038553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-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D034FA3F-D529-4D8B-B6EC-A8341FCAF67E}"/>
              </a:ext>
            </a:extLst>
          </p:cNvPr>
          <p:cNvSpPr>
            <a:spLocks noGrp="1"/>
          </p:cNvSpPr>
          <p:nvPr userDrawn="1">
            <p:ph sz="quarter" idx="14" hasCustomPrompt="1"/>
          </p:nvPr>
        </p:nvSpPr>
        <p:spPr bwMode="gray">
          <a:xfrm>
            <a:off x="616505" y="2515154"/>
            <a:ext cx="3346929" cy="3657600"/>
          </a:xfrm>
          <a:solidFill>
            <a:schemeClr val="bg2"/>
          </a:solidFill>
        </p:spPr>
        <p:txBody>
          <a:bodyPr lIns="182880" tIns="274320" rIns="182880"/>
          <a:lstStyle>
            <a:lvl1pPr algn="l">
              <a:spcBef>
                <a:spcPts val="1200"/>
              </a:spcBef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200"/>
            </a:lvl7pPr>
            <a:lvl8pPr>
              <a:defRPr sz="1100"/>
            </a:lvl8pPr>
            <a:lvl9pPr>
              <a:defRPr sz="1600"/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Level two</a:t>
            </a:r>
          </a:p>
          <a:p>
            <a:pPr lvl="2"/>
            <a:r>
              <a:rPr lang="en-US"/>
              <a:t>Level three</a:t>
            </a:r>
          </a:p>
          <a:p>
            <a:pPr lvl="3"/>
            <a:r>
              <a:rPr lang="en-US"/>
              <a:t>Level four</a:t>
            </a:r>
          </a:p>
          <a:p>
            <a:pPr lvl="4"/>
            <a:r>
              <a:rPr lang="en-US"/>
              <a:t>Level Five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 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  <a:p>
            <a:pPr lvl="1"/>
            <a:endParaRPr lang="en-US"/>
          </a:p>
        </p:txBody>
      </p:sp>
      <p:sp>
        <p:nvSpPr>
          <p:cNvPr id="72" name="Content Placeholder 17">
            <a:extLst>
              <a:ext uri="{FF2B5EF4-FFF2-40B4-BE49-F238E27FC236}">
                <a16:creationId xmlns:a16="http://schemas.microsoft.com/office/drawing/2014/main" id="{A0456ED3-FDC5-4E29-B939-E35EA08477CA}"/>
              </a:ext>
            </a:extLst>
          </p:cNvPr>
          <p:cNvSpPr>
            <a:spLocks noGrp="1"/>
          </p:cNvSpPr>
          <p:nvPr userDrawn="1">
            <p:ph sz="quarter" idx="16" hasCustomPrompt="1"/>
          </p:nvPr>
        </p:nvSpPr>
        <p:spPr bwMode="gray">
          <a:xfrm>
            <a:off x="4419677" y="2515154"/>
            <a:ext cx="3349473" cy="3657600"/>
          </a:xfrm>
          <a:solidFill>
            <a:schemeClr val="bg2"/>
          </a:solidFill>
        </p:spPr>
        <p:txBody>
          <a:bodyPr lIns="182880" tIns="274320" rIns="182880"/>
          <a:lstStyle>
            <a:lvl1pPr algn="l">
              <a:spcBef>
                <a:spcPts val="1200"/>
              </a:spcBef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200"/>
            </a:lvl7pPr>
            <a:lvl8pPr>
              <a:defRPr sz="1100"/>
            </a:lvl8pPr>
            <a:lvl9pPr>
              <a:defRPr sz="1600"/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Level two</a:t>
            </a:r>
          </a:p>
          <a:p>
            <a:pPr lvl="2"/>
            <a:r>
              <a:rPr lang="en-US"/>
              <a:t>Level three</a:t>
            </a:r>
          </a:p>
          <a:p>
            <a:pPr lvl="3"/>
            <a:r>
              <a:rPr lang="en-US"/>
              <a:t>Level four</a:t>
            </a:r>
          </a:p>
          <a:p>
            <a:pPr lvl="4"/>
            <a:r>
              <a:rPr lang="en-US"/>
              <a:t>Level Five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 Level Seven 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  <a:p>
            <a:pPr lvl="3"/>
            <a:endParaRPr lang="en-US"/>
          </a:p>
          <a:p>
            <a:pPr lvl="1"/>
            <a:endParaRPr lang="en-US"/>
          </a:p>
        </p:txBody>
      </p:sp>
      <p:sp>
        <p:nvSpPr>
          <p:cNvPr id="73" name="Content Placeholder 17">
            <a:extLst>
              <a:ext uri="{FF2B5EF4-FFF2-40B4-BE49-F238E27FC236}">
                <a16:creationId xmlns:a16="http://schemas.microsoft.com/office/drawing/2014/main" id="{9C016467-4262-4DAA-9B43-A02E57530676}"/>
              </a:ext>
            </a:extLst>
          </p:cNvPr>
          <p:cNvSpPr>
            <a:spLocks noGrp="1"/>
          </p:cNvSpPr>
          <p:nvPr userDrawn="1">
            <p:ph sz="quarter" idx="17" hasCustomPrompt="1"/>
          </p:nvPr>
        </p:nvSpPr>
        <p:spPr bwMode="gray">
          <a:xfrm>
            <a:off x="8236361" y="2515154"/>
            <a:ext cx="3346704" cy="3657600"/>
          </a:xfrm>
          <a:solidFill>
            <a:schemeClr val="bg2"/>
          </a:solidFill>
        </p:spPr>
        <p:txBody>
          <a:bodyPr lIns="182880" tIns="274320" rIns="182880"/>
          <a:lstStyle>
            <a:lvl1pPr algn="l">
              <a:spcBef>
                <a:spcPts val="1200"/>
              </a:spcBef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200"/>
            </a:lvl7pPr>
            <a:lvl8pPr>
              <a:defRPr sz="1100"/>
            </a:lvl8pPr>
            <a:lvl9pPr>
              <a:defRPr sz="1600"/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Level two</a:t>
            </a:r>
          </a:p>
          <a:p>
            <a:pPr lvl="2"/>
            <a:r>
              <a:rPr lang="en-US"/>
              <a:t>Level three</a:t>
            </a:r>
          </a:p>
          <a:p>
            <a:pPr lvl="3"/>
            <a:r>
              <a:rPr lang="en-US"/>
              <a:t>Level four</a:t>
            </a:r>
          </a:p>
          <a:p>
            <a:pPr lvl="4"/>
            <a:r>
              <a:rPr lang="en-US"/>
              <a:t>Level five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  <a:p>
            <a:pPr lvl="1"/>
            <a:endParaRPr lang="en-US"/>
          </a:p>
        </p:txBody>
      </p:sp>
      <p:sp>
        <p:nvSpPr>
          <p:cNvPr id="818" name="TextBox 817">
            <a:extLst>
              <a:ext uri="{FF2B5EF4-FFF2-40B4-BE49-F238E27FC236}">
                <a16:creationId xmlns:a16="http://schemas.microsoft.com/office/drawing/2014/main" id="{0B7E1504-B128-423C-AA77-E7FED5DC3B79}"/>
              </a:ext>
            </a:extLst>
          </p:cNvPr>
          <p:cNvSpPr txBox="1"/>
          <p:nvPr userDrawn="1"/>
        </p:nvSpPr>
        <p:spPr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F2C94F-DA57-4BDB-8E5C-E4A0C75223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One Line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FC59F98B-A991-4DEC-A409-289E778CB84A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7" y="811831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999">
                <a:solidFill>
                  <a:schemeClr val="accent4"/>
                </a:solidFill>
                <a:latin typeface="+mn-lt"/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9392189-2D4C-4618-9072-F26EE557FD0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6504" y="1600200"/>
            <a:ext cx="3346704" cy="914400"/>
          </a:xfrm>
          <a:solidFill>
            <a:schemeClr val="accent4"/>
          </a:solidFill>
        </p:spPr>
        <p:txBody>
          <a:bodyPr lIns="182880" tIns="91440" rIns="182880" bIns="91440" anchor="ctr"/>
          <a:lstStyle>
            <a:lvl1pPr>
              <a:defRPr sz="1799">
                <a:solidFill>
                  <a:schemeClr val="bg1"/>
                </a:solidFill>
              </a:defRPr>
            </a:lvl1pPr>
            <a:lvl2pPr marL="0" indent="0">
              <a:buFont typeface="Open Sans" panose="020B0606030504020204" pitchFamily="34" charset="0"/>
              <a:buChar char="​"/>
              <a:defRPr sz="1799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header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665955AB-F417-4DCB-8CC3-98BAC90A9AF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419676" y="1600200"/>
            <a:ext cx="3346704" cy="914400"/>
          </a:xfrm>
          <a:solidFill>
            <a:schemeClr val="accent1"/>
          </a:solidFill>
        </p:spPr>
        <p:txBody>
          <a:bodyPr lIns="182880" tIns="91440" rIns="182880" bIns="91440" anchor="ctr"/>
          <a:lstStyle>
            <a:lvl1pPr>
              <a:defRPr sz="1799">
                <a:solidFill>
                  <a:schemeClr val="bg1"/>
                </a:solidFill>
              </a:defRPr>
            </a:lvl1pPr>
            <a:lvl2pPr marL="0" indent="0">
              <a:buFont typeface="Open Sans" panose="020B0606030504020204" pitchFamily="34" charset="0"/>
              <a:buChar char="​"/>
              <a:defRPr sz="1799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header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7AFB5407-642C-468A-81DB-F0C5C485F6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36361" y="1600200"/>
            <a:ext cx="3346704" cy="914400"/>
          </a:xfrm>
          <a:solidFill>
            <a:schemeClr val="accent2"/>
          </a:solidFill>
        </p:spPr>
        <p:txBody>
          <a:bodyPr lIns="182880" tIns="91440" rIns="182880" bIns="91440" anchor="ctr"/>
          <a:lstStyle>
            <a:lvl1pPr>
              <a:defRPr sz="1799">
                <a:solidFill>
                  <a:schemeClr val="bg1"/>
                </a:solidFill>
              </a:defRPr>
            </a:lvl1pPr>
            <a:lvl2pPr marL="0" indent="0">
              <a:buFont typeface="Open Sans" panose="020B0606030504020204" pitchFamily="34" charset="0"/>
              <a:buChar char="​"/>
              <a:defRPr sz="1799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129862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30CD733-93DE-4793-929B-26E6DBA7592D}"/>
              </a:ext>
            </a:extLst>
          </p:cNvPr>
          <p:cNvSpPr/>
          <p:nvPr userDrawn="1"/>
        </p:nvSpPr>
        <p:spPr bwMode="ltGray">
          <a:xfrm>
            <a:off x="1" y="1600202"/>
            <a:ext cx="7923212" cy="4570946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799">
              <a:solidFill>
                <a:schemeClr val="accent2"/>
              </a:solidFill>
            </a:endParaRP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D8C8783A-257B-4A50-95A0-6C7B8E51707B}"/>
              </a:ext>
            </a:extLst>
          </p:cNvPr>
          <p:cNvCxnSpPr>
            <a:cxnSpLocks/>
          </p:cNvCxnSpPr>
          <p:nvPr userDrawn="1"/>
        </p:nvCxnSpPr>
        <p:spPr>
          <a:xfrm>
            <a:off x="8380413" y="1608668"/>
            <a:ext cx="3808412" cy="0"/>
          </a:xfrm>
          <a:prstGeom prst="line">
            <a:avLst/>
          </a:prstGeom>
          <a:ln w="25400">
            <a:solidFill>
              <a:schemeClr val="accent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3A17EA1E-A574-444B-9004-45836D98DAD0}"/>
              </a:ext>
            </a:extLst>
          </p:cNvPr>
          <p:cNvSpPr txBox="1"/>
          <p:nvPr userDrawn="1"/>
        </p:nvSpPr>
        <p:spPr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157BCD9-063B-4ED4-B68C-092EC2C342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wrap="none"/>
          <a:lstStyle>
            <a:lvl1pPr>
              <a:defRPr/>
            </a:lvl1pPr>
          </a:lstStyle>
          <a:p>
            <a:r>
              <a:rPr lang="en-US"/>
              <a:t>Click to Add One Line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F7496CC-9DD2-4299-850C-005958FB65C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0413" y="1600200"/>
            <a:ext cx="3808412" cy="4572000"/>
          </a:xfrm>
        </p:spPr>
        <p:txBody>
          <a:bodyPr tIns="457200" rIns="594360" bIns="457200"/>
          <a:lstStyle>
            <a:lvl1pPr>
              <a:defRPr sz="1799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799"/>
            </a:lvl6pPr>
            <a:lvl7pPr>
              <a:defRPr sz="1400"/>
            </a:lvl7pPr>
            <a:lvl8pPr>
              <a:defRPr sz="1200"/>
            </a:lvl8pPr>
            <a:lvl9pPr>
              <a:defRPr sz="1799"/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 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A0D276D7-17CD-46AB-99B2-97FD34FEEFFA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7" y="811831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999">
                <a:solidFill>
                  <a:schemeClr val="accent4"/>
                </a:solidFill>
                <a:latin typeface="+mn-lt"/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048838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tcome / Benef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BB1458BF-96C1-46C6-A67F-AD0FB4B4E5C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78825" y="4347904"/>
            <a:ext cx="3201988" cy="1600200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8781D19-2DDB-4D83-983D-3D159A7DE7C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78825" y="2063048"/>
            <a:ext cx="3201988" cy="1600200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005EB21-86C3-42EF-BFE7-549D9EA364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0414" y="1699688"/>
            <a:ext cx="2006600" cy="298450"/>
          </a:xfrm>
        </p:spPr>
        <p:txBody>
          <a:bodyPr anchor="b"/>
          <a:lstStyle>
            <a:lvl1pPr>
              <a:defRPr sz="1600">
                <a:solidFill>
                  <a:schemeClr val="accent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Outcome</a:t>
            </a:r>
          </a:p>
        </p:txBody>
      </p: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F789B473-DDE6-4450-A111-3761F341AAE3}"/>
              </a:ext>
            </a:extLst>
          </p:cNvPr>
          <p:cNvCxnSpPr>
            <a:cxnSpLocks/>
          </p:cNvCxnSpPr>
          <p:nvPr userDrawn="1"/>
        </p:nvCxnSpPr>
        <p:spPr>
          <a:xfrm>
            <a:off x="8380413" y="3872441"/>
            <a:ext cx="3808412" cy="0"/>
          </a:xfrm>
          <a:prstGeom prst="line">
            <a:avLst/>
          </a:prstGeom>
          <a:ln w="25400">
            <a:solidFill>
              <a:schemeClr val="accent4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 Placeholder 6">
            <a:extLst>
              <a:ext uri="{FF2B5EF4-FFF2-40B4-BE49-F238E27FC236}">
                <a16:creationId xmlns:a16="http://schemas.microsoft.com/office/drawing/2014/main" id="{0D0977FA-A4CA-4F1F-8109-D7498D165ED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80414" y="3972469"/>
            <a:ext cx="2006600" cy="298450"/>
          </a:xfrm>
        </p:spPr>
        <p:txBody>
          <a:bodyPr anchor="b"/>
          <a:lstStyle>
            <a:lvl1pPr>
              <a:defRPr sz="1600">
                <a:solidFill>
                  <a:schemeClr val="accent4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Benefi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F992B4C-D72B-4160-80E2-5EE05E2DDD3F}"/>
              </a:ext>
            </a:extLst>
          </p:cNvPr>
          <p:cNvSpPr txBox="1"/>
          <p:nvPr userDrawn="1"/>
        </p:nvSpPr>
        <p:spPr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E15888C-CFB4-4BEC-9B94-46E698DFC4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wrap="none"/>
          <a:lstStyle>
            <a:lvl1pPr>
              <a:defRPr/>
            </a:lvl1pPr>
          </a:lstStyle>
          <a:p>
            <a:r>
              <a:rPr lang="en-US"/>
              <a:t>Click to Add One Line Tit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2EE86E2-0F2F-484B-8170-3AEBA1DDEB2D}"/>
              </a:ext>
            </a:extLst>
          </p:cNvPr>
          <p:cNvSpPr/>
          <p:nvPr userDrawn="1"/>
        </p:nvSpPr>
        <p:spPr bwMode="ltGray">
          <a:xfrm>
            <a:off x="1" y="1600203"/>
            <a:ext cx="7923212" cy="457094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799">
              <a:solidFill>
                <a:schemeClr val="accent2"/>
              </a:solidFill>
            </a:endParaRPr>
          </a:p>
        </p:txBody>
      </p: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56D4D92B-574E-4F63-A5BA-8F7282B54C27}"/>
              </a:ext>
            </a:extLst>
          </p:cNvPr>
          <p:cNvCxnSpPr>
            <a:cxnSpLocks/>
          </p:cNvCxnSpPr>
          <p:nvPr userDrawn="1"/>
        </p:nvCxnSpPr>
        <p:spPr>
          <a:xfrm>
            <a:off x="8380413" y="1608668"/>
            <a:ext cx="3808412" cy="0"/>
          </a:xfrm>
          <a:prstGeom prst="line">
            <a:avLst/>
          </a:prstGeom>
          <a:ln w="25400">
            <a:solidFill>
              <a:schemeClr val="accent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Subtitle 2">
            <a:extLst>
              <a:ext uri="{FF2B5EF4-FFF2-40B4-BE49-F238E27FC236}">
                <a16:creationId xmlns:a16="http://schemas.microsoft.com/office/drawing/2014/main" id="{E9D6A872-88BD-4DFC-AFFD-1E9BEEB6533B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7" y="811831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999">
                <a:solidFill>
                  <a:schemeClr val="accent4"/>
                </a:solidFill>
                <a:latin typeface="+mn-lt"/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104825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Succ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309367CD-64CE-4B7B-91B1-53B17F8F693D}"/>
              </a:ext>
            </a:extLst>
          </p:cNvPr>
          <p:cNvSpPr/>
          <p:nvPr userDrawn="1"/>
        </p:nvSpPr>
        <p:spPr bwMode="ltGray">
          <a:xfrm>
            <a:off x="1" y="1600203"/>
            <a:ext cx="7923212" cy="457094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US" sz="2799">
              <a:solidFill>
                <a:schemeClr val="accent2"/>
              </a:solidFill>
            </a:endParaRPr>
          </a:p>
        </p:txBody>
      </p:sp>
      <p:sp>
        <p:nvSpPr>
          <p:cNvPr id="72" name="Content Placeholder 17">
            <a:extLst>
              <a:ext uri="{FF2B5EF4-FFF2-40B4-BE49-F238E27FC236}">
                <a16:creationId xmlns:a16="http://schemas.microsoft.com/office/drawing/2014/main" id="{A0456ED3-FDC5-4E29-B939-E35EA08477CA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11645" y="2409554"/>
            <a:ext cx="3201848" cy="934931"/>
          </a:xfrm>
          <a:noFill/>
        </p:spPr>
        <p:txBody>
          <a:bodyPr vert="horz" lIns="0" tIns="0" rIns="0" bIns="45720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1050" dirty="0">
                <a:solidFill>
                  <a:schemeClr val="tx2"/>
                </a:solidFill>
              </a:defRPr>
            </a:lvl1pPr>
            <a:lvl2pPr marL="114266" indent="-114266">
              <a:lnSpc>
                <a:spcPct val="100000"/>
              </a:lnSpc>
              <a:spcBef>
                <a:spcPts val="0"/>
              </a:spcBef>
              <a:defRPr lang="en-US" sz="1000" dirty="0">
                <a:solidFill>
                  <a:schemeClr val="tx2"/>
                </a:solidFill>
              </a:defRPr>
            </a:lvl2pPr>
            <a:lvl3pPr>
              <a:defRPr lang="en-US" sz="1400" dirty="0">
                <a:solidFill>
                  <a:schemeClr val="tx2"/>
                </a:solidFill>
              </a:defRPr>
            </a:lvl3pPr>
            <a:lvl4pPr>
              <a:defRPr lang="en-US" sz="1200" dirty="0">
                <a:solidFill>
                  <a:schemeClr val="tx2"/>
                </a:solidFill>
              </a:defRPr>
            </a:lvl4pPr>
            <a:lvl5pPr>
              <a:defRPr lang="en-US" sz="1200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005EB21-86C3-42EF-BFE7-549D9EA364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3094" y="2079840"/>
            <a:ext cx="2006600" cy="227454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About</a:t>
            </a:r>
          </a:p>
        </p:txBody>
      </p:sp>
      <p:sp>
        <p:nvSpPr>
          <p:cNvPr id="74" name="Content Placeholder 17">
            <a:extLst>
              <a:ext uri="{FF2B5EF4-FFF2-40B4-BE49-F238E27FC236}">
                <a16:creationId xmlns:a16="http://schemas.microsoft.com/office/drawing/2014/main" id="{F00013B6-2241-400E-9E61-946C485F8D5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11645" y="3952605"/>
            <a:ext cx="3201848" cy="847996"/>
          </a:xfrm>
          <a:noFill/>
        </p:spPr>
        <p:txBody>
          <a:bodyPr vert="horz" lIns="0" tIns="0" rIns="0" bIns="45720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1050" dirty="0">
                <a:solidFill>
                  <a:schemeClr val="tx2"/>
                </a:solidFill>
              </a:defRPr>
            </a:lvl1pPr>
            <a:lvl2pPr marL="114266" indent="-114266">
              <a:lnSpc>
                <a:spcPct val="100000"/>
              </a:lnSpc>
              <a:spcBef>
                <a:spcPts val="0"/>
              </a:spcBef>
              <a:defRPr lang="en-US" sz="1000" dirty="0">
                <a:solidFill>
                  <a:schemeClr val="tx2"/>
                </a:solidFill>
              </a:defRPr>
            </a:lvl2pPr>
            <a:lvl3pPr>
              <a:defRPr lang="en-US" sz="1400" dirty="0">
                <a:solidFill>
                  <a:schemeClr val="tx2"/>
                </a:solidFill>
              </a:defRPr>
            </a:lvl3pPr>
            <a:lvl4pPr>
              <a:defRPr lang="en-US" sz="1200" dirty="0">
                <a:solidFill>
                  <a:schemeClr val="tx2"/>
                </a:solidFill>
              </a:defRPr>
            </a:lvl4pPr>
            <a:lvl5pPr>
              <a:defRPr lang="en-US" sz="1200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D8C8783A-257B-4A50-95A0-6C7B8E51707B}"/>
              </a:ext>
            </a:extLst>
          </p:cNvPr>
          <p:cNvCxnSpPr>
            <a:cxnSpLocks/>
          </p:cNvCxnSpPr>
          <p:nvPr userDrawn="1"/>
        </p:nvCxnSpPr>
        <p:spPr>
          <a:xfrm>
            <a:off x="609601" y="1964843"/>
            <a:ext cx="3198812" cy="0"/>
          </a:xfrm>
          <a:prstGeom prst="line">
            <a:avLst/>
          </a:prstGeom>
          <a:ln w="25400">
            <a:solidFill>
              <a:schemeClr val="accent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F789B473-DDE6-4450-A111-3761F341AAE3}"/>
              </a:ext>
            </a:extLst>
          </p:cNvPr>
          <p:cNvCxnSpPr>
            <a:cxnSpLocks/>
          </p:cNvCxnSpPr>
          <p:nvPr userDrawn="1"/>
        </p:nvCxnSpPr>
        <p:spPr>
          <a:xfrm>
            <a:off x="609601" y="3547676"/>
            <a:ext cx="3198812" cy="0"/>
          </a:xfrm>
          <a:prstGeom prst="line">
            <a:avLst/>
          </a:prstGeom>
          <a:ln w="25400">
            <a:solidFill>
              <a:schemeClr val="accent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 Placeholder 6">
            <a:extLst>
              <a:ext uri="{FF2B5EF4-FFF2-40B4-BE49-F238E27FC236}">
                <a16:creationId xmlns:a16="http://schemas.microsoft.com/office/drawing/2014/main" id="{0D0977FA-A4CA-4F1F-8109-D7498D165EDD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613094" y="3634037"/>
            <a:ext cx="2006600" cy="227454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Challeng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F992B4C-D72B-4160-80E2-5EE05E2DDD3F}"/>
              </a:ext>
            </a:extLst>
          </p:cNvPr>
          <p:cNvSpPr txBox="1"/>
          <p:nvPr userDrawn="1"/>
        </p:nvSpPr>
        <p:spPr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100000"/>
                </a:lnSpc>
                <a:spcBef>
                  <a:spcPts val="0"/>
                </a:spcBef>
              </a:pPr>
              <a:t>‹#›</a:t>
            </a:fld>
            <a:endParaRPr lang="en-US" sz="1799">
              <a:latin typeface="+mj-lt"/>
            </a:endParaRPr>
          </a:p>
        </p:txBody>
      </p:sp>
      <p:sp>
        <p:nvSpPr>
          <p:cNvPr id="87" name="Content Placeholder 17">
            <a:extLst>
              <a:ext uri="{FF2B5EF4-FFF2-40B4-BE49-F238E27FC236}">
                <a16:creationId xmlns:a16="http://schemas.microsoft.com/office/drawing/2014/main" id="{CB3B18B9-1B70-4F2B-86D9-C5183A845D12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269245" y="2409554"/>
            <a:ext cx="3201848" cy="934931"/>
          </a:xfrm>
          <a:noFill/>
        </p:spPr>
        <p:txBody>
          <a:bodyPr vert="horz" lIns="0" tIns="0" rIns="0" bIns="45720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1050" dirty="0">
                <a:solidFill>
                  <a:schemeClr val="tx2"/>
                </a:solidFill>
              </a:defRPr>
            </a:lvl1pPr>
            <a:lvl2pPr marL="114266" indent="-114266">
              <a:lnSpc>
                <a:spcPct val="100000"/>
              </a:lnSpc>
              <a:spcBef>
                <a:spcPts val="0"/>
              </a:spcBef>
              <a:defRPr lang="en-US" sz="1000" dirty="0">
                <a:solidFill>
                  <a:schemeClr val="tx2"/>
                </a:solidFill>
              </a:defRPr>
            </a:lvl2pPr>
            <a:lvl3pPr>
              <a:defRPr lang="en-US" sz="1400" dirty="0">
                <a:solidFill>
                  <a:schemeClr val="tx2"/>
                </a:solidFill>
              </a:defRPr>
            </a:lvl3pPr>
            <a:lvl4pPr>
              <a:defRPr lang="en-US" sz="1200" dirty="0">
                <a:solidFill>
                  <a:schemeClr val="tx2"/>
                </a:solidFill>
              </a:defRPr>
            </a:lvl4pPr>
            <a:lvl5pPr>
              <a:defRPr lang="en-US" sz="1200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8" name="Text Placeholder 6">
            <a:extLst>
              <a:ext uri="{FF2B5EF4-FFF2-40B4-BE49-F238E27FC236}">
                <a16:creationId xmlns:a16="http://schemas.microsoft.com/office/drawing/2014/main" id="{45C2837B-EA55-4186-A2EA-1E7FB5B122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70693" y="2079840"/>
            <a:ext cx="2006600" cy="227454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4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Solution</a:t>
            </a:r>
          </a:p>
        </p:txBody>
      </p:sp>
      <p:sp>
        <p:nvSpPr>
          <p:cNvPr id="89" name="Content Placeholder 17">
            <a:extLst>
              <a:ext uri="{FF2B5EF4-FFF2-40B4-BE49-F238E27FC236}">
                <a16:creationId xmlns:a16="http://schemas.microsoft.com/office/drawing/2014/main" id="{00A3A11C-EA43-4ACC-83B9-C4C7C1080E3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269245" y="3952605"/>
            <a:ext cx="3201848" cy="847996"/>
          </a:xfrm>
          <a:noFill/>
        </p:spPr>
        <p:txBody>
          <a:bodyPr vert="horz" lIns="0" tIns="0" rIns="0" bIns="45720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1050" dirty="0">
                <a:solidFill>
                  <a:schemeClr val="tx2"/>
                </a:solidFill>
              </a:defRPr>
            </a:lvl1pPr>
            <a:lvl2pPr marL="114266" indent="-114266">
              <a:lnSpc>
                <a:spcPct val="100000"/>
              </a:lnSpc>
              <a:spcBef>
                <a:spcPts val="0"/>
              </a:spcBef>
              <a:defRPr lang="en-US" sz="1000" dirty="0">
                <a:solidFill>
                  <a:schemeClr val="tx2"/>
                </a:solidFill>
              </a:defRPr>
            </a:lvl2pPr>
            <a:lvl3pPr>
              <a:defRPr lang="en-US" sz="1400" dirty="0">
                <a:solidFill>
                  <a:schemeClr val="tx2"/>
                </a:solidFill>
              </a:defRPr>
            </a:lvl3pPr>
            <a:lvl4pPr>
              <a:defRPr lang="en-US" sz="1200" dirty="0">
                <a:solidFill>
                  <a:schemeClr val="tx2"/>
                </a:solidFill>
              </a:defRPr>
            </a:lvl4pPr>
            <a:lvl5pPr>
              <a:defRPr lang="en-US" sz="1200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EAAB5B3C-AE89-4605-BB4B-0C07DE733C40}"/>
              </a:ext>
            </a:extLst>
          </p:cNvPr>
          <p:cNvCxnSpPr>
            <a:cxnSpLocks/>
          </p:cNvCxnSpPr>
          <p:nvPr userDrawn="1"/>
        </p:nvCxnSpPr>
        <p:spPr>
          <a:xfrm>
            <a:off x="4267201" y="1964843"/>
            <a:ext cx="3198812" cy="0"/>
          </a:xfrm>
          <a:prstGeom prst="line">
            <a:avLst/>
          </a:prstGeom>
          <a:ln w="25400">
            <a:solidFill>
              <a:schemeClr val="accent4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4709593A-BC10-40A3-842E-346F6E0EE30C}"/>
              </a:ext>
            </a:extLst>
          </p:cNvPr>
          <p:cNvCxnSpPr>
            <a:cxnSpLocks/>
          </p:cNvCxnSpPr>
          <p:nvPr userDrawn="1"/>
        </p:nvCxnSpPr>
        <p:spPr>
          <a:xfrm>
            <a:off x="4267201" y="3547676"/>
            <a:ext cx="3198812" cy="0"/>
          </a:xfrm>
          <a:prstGeom prst="line">
            <a:avLst/>
          </a:prstGeom>
          <a:ln w="25400">
            <a:solidFill>
              <a:schemeClr val="accent6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Text Placeholder 6">
            <a:extLst>
              <a:ext uri="{FF2B5EF4-FFF2-40B4-BE49-F238E27FC236}">
                <a16:creationId xmlns:a16="http://schemas.microsoft.com/office/drawing/2014/main" id="{48CE9E08-388B-4458-B1F4-453A8413D63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70693" y="3634037"/>
            <a:ext cx="2006600" cy="227454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6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Impact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D909953-1B24-4C7D-A173-A53DF3FC7EC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382000" y="2971800"/>
            <a:ext cx="3194050" cy="18288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D0ED48B1-3A1C-41E2-BEC6-E8E6B54A07B0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9074150" y="1600202"/>
            <a:ext cx="1841500" cy="660399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defRPr/>
            </a:lvl1pPr>
          </a:lstStyle>
          <a:p>
            <a:r>
              <a:rPr lang="en-US"/>
              <a:t>Insert Logo he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0A78DDD-5F83-4940-98A7-CF6D7FB8140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82000" y="5022216"/>
            <a:ext cx="3200400" cy="1153795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400"/>
            </a:lvl1pPr>
            <a:lvl2pPr marL="0" indent="0" algn="ctr">
              <a:lnSpc>
                <a:spcPct val="100000"/>
              </a:lnSpc>
              <a:spcBef>
                <a:spcPts val="0"/>
              </a:spcBef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2pPr>
            <a:lvl3pPr marL="0" indent="0" algn="ctr">
              <a:buFont typeface="Open Sans" panose="020B0606030504020204" pitchFamily="34" charset="0"/>
              <a:buNone/>
              <a:defRPr sz="1200">
                <a:solidFill>
                  <a:schemeClr val="accent1"/>
                </a:solidFill>
              </a:defRPr>
            </a:lvl3pPr>
            <a:lvl4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4pPr>
            <a:lvl5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3" name="Text Placeholder 10">
            <a:extLst>
              <a:ext uri="{FF2B5EF4-FFF2-40B4-BE49-F238E27FC236}">
                <a16:creationId xmlns:a16="http://schemas.microsoft.com/office/drawing/2014/main" id="{356F2006-5264-4FEB-8EBA-8BA6A55D19B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75651" y="2347933"/>
            <a:ext cx="3206750" cy="241300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defRPr sz="1200"/>
            </a:lvl1pPr>
            <a:lvl2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2pPr>
            <a:lvl3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3pPr>
            <a:lvl4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4pPr>
            <a:lvl5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Location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AF7F59A-4C67-4F41-A6E0-906850EDF3F1}"/>
              </a:ext>
            </a:extLst>
          </p:cNvPr>
          <p:cNvSpPr/>
          <p:nvPr userDrawn="1"/>
        </p:nvSpPr>
        <p:spPr>
          <a:xfrm>
            <a:off x="608740" y="4978401"/>
            <a:ext cx="3204753" cy="879645"/>
          </a:xfrm>
          <a:prstGeom prst="rect">
            <a:avLst/>
          </a:prstGeom>
          <a:gradFill>
            <a:gsLst>
              <a:gs pos="0">
                <a:schemeClr val="accent4"/>
              </a:gs>
              <a:gs pos="98000">
                <a:schemeClr val="accent4"/>
              </a:gs>
            </a:gsLst>
            <a:lin ang="5400000" scaled="1"/>
          </a:gradFill>
        </p:spPr>
        <p:txBody>
          <a:bodyPr vert="horz" lIns="594205" tIns="457081" rIns="457081" bIns="457081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​"/>
            </a:pPr>
            <a:endParaRPr lang="en-US" sz="1799">
              <a:solidFill>
                <a:schemeClr val="bg1"/>
              </a:solidFill>
            </a:endParaRP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85779326-D874-4DC4-BA73-C7157B414B05}"/>
              </a:ext>
            </a:extLst>
          </p:cNvPr>
          <p:cNvSpPr/>
          <p:nvPr userDrawn="1"/>
        </p:nvSpPr>
        <p:spPr>
          <a:xfrm>
            <a:off x="4267200" y="4978400"/>
            <a:ext cx="3203893" cy="878840"/>
          </a:xfrm>
          <a:prstGeom prst="rect">
            <a:avLst/>
          </a:prstGeom>
          <a:solidFill>
            <a:schemeClr val="accent1"/>
          </a:solidFill>
        </p:spPr>
        <p:txBody>
          <a:bodyPr vert="horz" lIns="457081" tIns="457081" rIns="594205" bIns="0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​"/>
            </a:pPr>
            <a:endParaRPr lang="en-US" sz="1799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0FD359B-DBB1-4A58-B3A5-88DBD360EF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ompany Name</a:t>
            </a:r>
          </a:p>
        </p:txBody>
      </p:sp>
      <p:sp>
        <p:nvSpPr>
          <p:cNvPr id="27" name="Subtitle 2">
            <a:extLst>
              <a:ext uri="{FF2B5EF4-FFF2-40B4-BE49-F238E27FC236}">
                <a16:creationId xmlns:a16="http://schemas.microsoft.com/office/drawing/2014/main" id="{9A29AA74-2865-4B6A-BD11-7A351A336A6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7" y="811831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999">
                <a:solidFill>
                  <a:schemeClr val="accent4"/>
                </a:solidFill>
                <a:latin typeface="+mn-lt"/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09C7727F-F570-4AF1-856D-98544836237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75651" y="2647290"/>
            <a:ext cx="3206750" cy="241300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defRPr sz="1200"/>
            </a:lvl1pPr>
            <a:lvl2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2pPr>
            <a:lvl3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3pPr>
            <a:lvl4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4pPr>
            <a:lvl5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Industry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F13DC67D-58A2-45BD-A728-B6ECDD8B5A5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3093" y="4978400"/>
            <a:ext cx="3200400" cy="227454"/>
          </a:xfrm>
        </p:spPr>
        <p:txBody>
          <a:bodyPr anchor="b"/>
          <a:lstStyle>
            <a:lvl1pPr algn="ctr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Product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53D9F0A4-74F4-4BA6-AD21-4791EF0A20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273995" y="4978400"/>
            <a:ext cx="3200400" cy="227454"/>
          </a:xfrm>
        </p:spPr>
        <p:txBody>
          <a:bodyPr anchor="b"/>
          <a:lstStyle>
            <a:lvl1pPr algn="ctr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Strategic Priorities</a:t>
            </a:r>
          </a:p>
        </p:txBody>
      </p:sp>
    </p:spTree>
    <p:extLst>
      <p:ext uri="{BB962C8B-B14F-4D97-AF65-F5344CB8AC3E}">
        <p14:creationId xmlns:p14="http://schemas.microsoft.com/office/powerpoint/2010/main" val="4012621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8950B906-C5A3-4658-B24C-B2B533310D26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dirty="0">
              <a:latin typeface="+mj-lt"/>
            </a:endParaRP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C28211D2-9BBA-4EB9-8867-E2CC72E9E0D1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D90EF1-7A6F-4CAE-80CD-2BC8A8107F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One Line Title</a:t>
            </a:r>
          </a:p>
        </p:txBody>
      </p:sp>
    </p:spTree>
    <p:extLst>
      <p:ext uri="{BB962C8B-B14F-4D97-AF65-F5344CB8AC3E}">
        <p14:creationId xmlns:p14="http://schemas.microsoft.com/office/powerpoint/2010/main" val="4104214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-Bleed Photo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7F5379A2-B049-4A1C-A18D-79A1F237E82B}"/>
              </a:ext>
            </a:extLst>
          </p:cNvPr>
          <p:cNvSpPr txBox="1"/>
          <p:nvPr userDrawn="1"/>
        </p:nvSpPr>
        <p:spPr bwMode="white"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bg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82963ABA-B135-4D13-8059-831B7A9446D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1" y="6766562"/>
            <a:ext cx="12188825" cy="95225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EEA9A53D-C1B8-4AC0-AF50-F242E124EF75}"/>
              </a:ext>
            </a:extLst>
          </p:cNvPr>
          <p:cNvGrpSpPr/>
          <p:nvPr userDrawn="1"/>
        </p:nvGrpSpPr>
        <p:grpSpPr>
          <a:xfrm>
            <a:off x="608013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A5945F4E-578F-4EE5-B98E-A75643A79F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19DCDB05-0E28-45DE-9267-3E480A2300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9C693093-F44C-4AF7-8565-38BF0EC750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83C36CFC-0A28-4E5C-BEAB-B63CE60700F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45A3F9BB-BAC6-4065-B81D-9F3DF81635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21" name="Freeform 11">
              <a:extLst>
                <a:ext uri="{FF2B5EF4-FFF2-40B4-BE49-F238E27FC236}">
                  <a16:creationId xmlns:a16="http://schemas.microsoft.com/office/drawing/2014/main" id="{2C0EF4D9-E299-4B39-8F2A-BD56CEC524B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22" name="Freeform 12">
              <a:extLst>
                <a:ext uri="{FF2B5EF4-FFF2-40B4-BE49-F238E27FC236}">
                  <a16:creationId xmlns:a16="http://schemas.microsoft.com/office/drawing/2014/main" id="{51F9A586-3983-444B-A345-4A891295D74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0566660B-2EAC-47CE-944F-D039B1DF2E0F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fidential   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©2019 VMware, Inc.</a:t>
            </a:r>
          </a:p>
        </p:txBody>
      </p:sp>
    </p:spTree>
    <p:extLst>
      <p:ext uri="{BB962C8B-B14F-4D97-AF65-F5344CB8AC3E}">
        <p14:creationId xmlns:p14="http://schemas.microsoft.com/office/powerpoint/2010/main" val="2268197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c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val 20">
            <a:extLst>
              <a:ext uri="{FF2B5EF4-FFF2-40B4-BE49-F238E27FC236}">
                <a16:creationId xmlns:a16="http://schemas.microsoft.com/office/drawing/2014/main" id="{B1C210DC-5DBB-4F0D-875F-CD8AAAB938CE}"/>
              </a:ext>
            </a:extLst>
          </p:cNvPr>
          <p:cNvSpPr/>
          <p:nvPr userDrawn="1"/>
        </p:nvSpPr>
        <p:spPr bwMode="gray">
          <a:xfrm>
            <a:off x="1981878" y="2055431"/>
            <a:ext cx="1828959" cy="1828959"/>
          </a:xfrm>
          <a:prstGeom prst="ellipse">
            <a:avLst/>
          </a:prstGeom>
          <a:solidFill>
            <a:schemeClr val="accent4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>
              <a:solidFill>
                <a:schemeClr val="accent4"/>
              </a:solidFill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446F04B0-7860-407F-85B7-42E38FAFE34B}"/>
              </a:ext>
            </a:extLst>
          </p:cNvPr>
          <p:cNvSpPr/>
          <p:nvPr userDrawn="1"/>
        </p:nvSpPr>
        <p:spPr bwMode="gray">
          <a:xfrm>
            <a:off x="8389302" y="2055431"/>
            <a:ext cx="1828959" cy="1828959"/>
          </a:xfrm>
          <a:prstGeom prst="ellipse">
            <a:avLst/>
          </a:prstGeom>
          <a:solidFill>
            <a:schemeClr val="accent2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6FECF9D0-D7A8-43DD-B38D-E1090C0B322F}"/>
              </a:ext>
            </a:extLst>
          </p:cNvPr>
          <p:cNvSpPr/>
          <p:nvPr userDrawn="1"/>
        </p:nvSpPr>
        <p:spPr bwMode="gray">
          <a:xfrm>
            <a:off x="5184925" y="2055431"/>
            <a:ext cx="1828959" cy="1828959"/>
          </a:xfrm>
          <a:prstGeom prst="ellipse">
            <a:avLst/>
          </a:prstGeom>
          <a:solidFill>
            <a:schemeClr val="accent1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/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AD23688F-2550-4740-B5D6-C78F74FDE08D}"/>
              </a:ext>
            </a:extLst>
          </p:cNvPr>
          <p:cNvSpPr txBox="1"/>
          <p:nvPr userDrawn="1"/>
        </p:nvSpPr>
        <p:spPr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4C5A99F-0678-4DC4-A266-1AD031E9C8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One Line Tit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EBF1472-E940-4CC7-B5D3-349346A425A8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7" y="811831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999">
                <a:solidFill>
                  <a:schemeClr val="accent4"/>
                </a:solidFill>
                <a:latin typeface="+mn-lt"/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CC9B40-9AF4-4EF7-8384-2ACE79EA95C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25905" y="4267940"/>
            <a:ext cx="2744788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399">
                <a:solidFill>
                  <a:schemeClr val="accent4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D69CA39A-E967-4A68-A944-35C345A456D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21226" y="4267940"/>
            <a:ext cx="2744788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399">
                <a:solidFill>
                  <a:schemeClr val="accent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41A16A22-350B-4B24-A3CD-4D5DE470DEE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923214" y="4267940"/>
            <a:ext cx="2744788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399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619830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c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Oval 83">
            <a:extLst>
              <a:ext uri="{FF2B5EF4-FFF2-40B4-BE49-F238E27FC236}">
                <a16:creationId xmlns:a16="http://schemas.microsoft.com/office/drawing/2014/main" id="{085441A7-EBA5-4ABB-8D29-CE4338F0F9B5}"/>
              </a:ext>
            </a:extLst>
          </p:cNvPr>
          <p:cNvSpPr/>
          <p:nvPr userDrawn="1"/>
        </p:nvSpPr>
        <p:spPr bwMode="gray">
          <a:xfrm>
            <a:off x="1065750" y="2060874"/>
            <a:ext cx="1828959" cy="1828959"/>
          </a:xfrm>
          <a:prstGeom prst="ellipse">
            <a:avLst/>
          </a:prstGeom>
          <a:solidFill>
            <a:schemeClr val="accent4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>
              <a:solidFill>
                <a:schemeClr val="accent4"/>
              </a:solidFill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3019BB56-AE7C-42CA-A8FF-432F4F176B8B}"/>
              </a:ext>
            </a:extLst>
          </p:cNvPr>
          <p:cNvSpPr/>
          <p:nvPr userDrawn="1"/>
        </p:nvSpPr>
        <p:spPr bwMode="gray">
          <a:xfrm>
            <a:off x="9302133" y="2060874"/>
            <a:ext cx="1828959" cy="1828959"/>
          </a:xfrm>
          <a:prstGeom prst="ellipse">
            <a:avLst/>
          </a:prstGeom>
          <a:solidFill>
            <a:schemeClr val="accent2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/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5670C03F-6336-45E3-A9F4-0CD130D80D1B}"/>
              </a:ext>
            </a:extLst>
          </p:cNvPr>
          <p:cNvSpPr/>
          <p:nvPr userDrawn="1"/>
        </p:nvSpPr>
        <p:spPr bwMode="gray">
          <a:xfrm>
            <a:off x="6562101" y="2060874"/>
            <a:ext cx="1828959" cy="1828959"/>
          </a:xfrm>
          <a:prstGeom prst="ellipse">
            <a:avLst/>
          </a:prstGeom>
          <a:solidFill>
            <a:schemeClr val="accent1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799"/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45D908EF-1F96-4808-A8DB-F55AB9E8E436}"/>
              </a:ext>
            </a:extLst>
          </p:cNvPr>
          <p:cNvSpPr/>
          <p:nvPr userDrawn="1"/>
        </p:nvSpPr>
        <p:spPr bwMode="gray">
          <a:xfrm>
            <a:off x="3806933" y="2060874"/>
            <a:ext cx="1828959" cy="1828959"/>
          </a:xfrm>
          <a:prstGeom prst="ellipse">
            <a:avLst/>
          </a:prstGeom>
          <a:solidFill>
            <a:schemeClr val="accent3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799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0AAF357F-A1D5-401D-94D2-9C67E6AEDA09}"/>
              </a:ext>
            </a:extLst>
          </p:cNvPr>
          <p:cNvSpPr txBox="1"/>
          <p:nvPr userDrawn="1"/>
        </p:nvSpPr>
        <p:spPr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A6ED71B-2619-4816-B753-5E850ED08F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One Line Tit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B679D5C-AEFA-4052-96E3-7DF67D7C105A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7" y="811831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999">
                <a:solidFill>
                  <a:schemeClr val="accent4"/>
                </a:solidFill>
                <a:latin typeface="+mn-lt"/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83A73281-E5F0-4C3B-BE4E-A12D56CC100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42674" y="4269508"/>
            <a:ext cx="22860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399">
                <a:solidFill>
                  <a:schemeClr val="accent4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70078EAE-661A-4C72-917B-F0225239F6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79814" y="4269508"/>
            <a:ext cx="22860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399">
                <a:solidFill>
                  <a:schemeClr val="accent3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566D6B40-9CB0-4B56-A3E1-9A7F945F094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23013" y="4269508"/>
            <a:ext cx="22860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399">
                <a:solidFill>
                  <a:schemeClr val="accent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16F5CA9C-E491-4F70-B6EE-A506410601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66214" y="4269508"/>
            <a:ext cx="22860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399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33137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Ic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Oval 21">
            <a:extLst>
              <a:ext uri="{FF2B5EF4-FFF2-40B4-BE49-F238E27FC236}">
                <a16:creationId xmlns:a16="http://schemas.microsoft.com/office/drawing/2014/main" id="{A1FDF9D3-5B68-4A75-97BF-2C5113CFAA66}"/>
              </a:ext>
            </a:extLst>
          </p:cNvPr>
          <p:cNvSpPr/>
          <p:nvPr userDrawn="1"/>
        </p:nvSpPr>
        <p:spPr bwMode="gray">
          <a:xfrm>
            <a:off x="609801" y="2064665"/>
            <a:ext cx="1828959" cy="1828959"/>
          </a:xfrm>
          <a:prstGeom prst="ellipse">
            <a:avLst/>
          </a:prstGeom>
          <a:solidFill>
            <a:schemeClr val="accent4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>
              <a:solidFill>
                <a:schemeClr val="accent4"/>
              </a:solidFill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7EAB1992-E472-4489-8A4E-A8FE45DE10CF}"/>
              </a:ext>
            </a:extLst>
          </p:cNvPr>
          <p:cNvSpPr/>
          <p:nvPr userDrawn="1"/>
        </p:nvSpPr>
        <p:spPr bwMode="gray">
          <a:xfrm>
            <a:off x="9744474" y="2064665"/>
            <a:ext cx="1828959" cy="1828959"/>
          </a:xfrm>
          <a:prstGeom prst="ellipse">
            <a:avLst/>
          </a:prstGeom>
          <a:solidFill>
            <a:schemeClr val="accent5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C551C90A-573F-4E4A-9359-5C7B0F546BF9}"/>
              </a:ext>
            </a:extLst>
          </p:cNvPr>
          <p:cNvSpPr/>
          <p:nvPr userDrawn="1"/>
        </p:nvSpPr>
        <p:spPr bwMode="gray">
          <a:xfrm>
            <a:off x="5201381" y="2064665"/>
            <a:ext cx="1828959" cy="18289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ctr"/>
            <a:endParaRPr lang="en-US" sz="1799">
              <a:solidFill>
                <a:schemeClr val="bg1"/>
              </a:solidFill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AF79E162-3D8F-4829-A4AD-02A03597B11A}"/>
              </a:ext>
            </a:extLst>
          </p:cNvPr>
          <p:cNvSpPr/>
          <p:nvPr userDrawn="1"/>
        </p:nvSpPr>
        <p:spPr bwMode="gray">
          <a:xfrm>
            <a:off x="2892453" y="2064665"/>
            <a:ext cx="1828959" cy="1828959"/>
          </a:xfrm>
          <a:prstGeom prst="ellipse">
            <a:avLst/>
          </a:prstGeom>
          <a:solidFill>
            <a:schemeClr val="accent3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799"/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026B9B36-08E7-4664-970C-13123F24C793}"/>
              </a:ext>
            </a:extLst>
          </p:cNvPr>
          <p:cNvSpPr/>
          <p:nvPr userDrawn="1"/>
        </p:nvSpPr>
        <p:spPr bwMode="gray">
          <a:xfrm>
            <a:off x="7464922" y="2064665"/>
            <a:ext cx="1828959" cy="1828959"/>
          </a:xfrm>
          <a:prstGeom prst="ellipse">
            <a:avLst/>
          </a:prstGeom>
          <a:solidFill>
            <a:schemeClr val="accent2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799">
              <a:solidFill>
                <a:schemeClr val="lt1"/>
              </a:solidFill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0E19ACAF-9401-49DF-ACFF-2BA2129506AB}"/>
              </a:ext>
            </a:extLst>
          </p:cNvPr>
          <p:cNvSpPr txBox="1"/>
          <p:nvPr userDrawn="1"/>
        </p:nvSpPr>
        <p:spPr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BA8A47F-2243-412F-A1A8-FA8E3475F5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One Line Tit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EEA64E97-C31D-49B1-B8E1-20E5F404F516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7" y="811831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999">
                <a:solidFill>
                  <a:schemeClr val="accent4"/>
                </a:solidFill>
                <a:latin typeface="+mn-lt"/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2E201879-B985-4ADE-8AD6-6C3E14CE0AF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0850" y="4282873"/>
            <a:ext cx="18288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1999">
                <a:solidFill>
                  <a:schemeClr val="accent4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600"/>
            </a:lvl2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9495BAAB-E860-4075-9DA3-ABA7C32D235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94013" y="4282873"/>
            <a:ext cx="18288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1999">
                <a:solidFill>
                  <a:schemeClr val="accent3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600"/>
            </a:lvl2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62D3946B-F2F1-42AF-8E89-00761A7745D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85093" y="4282873"/>
            <a:ext cx="18288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1999">
                <a:solidFill>
                  <a:schemeClr val="accent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600"/>
            </a:lvl2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2F84664-2E68-46AE-AE2C-E8D2B6C9A1D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70001" y="4282873"/>
            <a:ext cx="18288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1999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600"/>
            </a:lvl2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CDC9B65E-8BAA-4676-9F32-44EC3772D34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752013" y="4282873"/>
            <a:ext cx="18288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1999">
                <a:solidFill>
                  <a:schemeClr val="accent5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600"/>
            </a:lvl2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48254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3FC38F94-115E-4DBE-80BB-680CB172F9FB}"/>
              </a:ext>
            </a:extLst>
          </p:cNvPr>
          <p:cNvSpPr/>
          <p:nvPr userDrawn="1"/>
        </p:nvSpPr>
        <p:spPr>
          <a:xfrm rot="2700000">
            <a:off x="810401" y="-3656857"/>
            <a:ext cx="9864449" cy="13468141"/>
          </a:xfrm>
          <a:custGeom>
            <a:avLst/>
            <a:gdLst>
              <a:gd name="connsiteX0" fmla="*/ 0 w 9864449"/>
              <a:gd name="connsiteY0" fmla="*/ 7314461 h 13468141"/>
              <a:gd name="connsiteX1" fmla="*/ 7314462 w 9864449"/>
              <a:gd name="connsiteY1" fmla="*/ 0 h 13468141"/>
              <a:gd name="connsiteX2" fmla="*/ 9864449 w 9864449"/>
              <a:gd name="connsiteY2" fmla="*/ 2549987 h 13468141"/>
              <a:gd name="connsiteX3" fmla="*/ 9864449 w 9864449"/>
              <a:gd name="connsiteY3" fmla="*/ 7148688 h 13468141"/>
              <a:gd name="connsiteX4" fmla="*/ 3544996 w 9864449"/>
              <a:gd name="connsiteY4" fmla="*/ 13468141 h 13468141"/>
              <a:gd name="connsiteX5" fmla="*/ 0 w 9864449"/>
              <a:gd name="connsiteY5" fmla="*/ 9923145 h 134681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864449" h="13468141">
                <a:moveTo>
                  <a:pt x="0" y="7314461"/>
                </a:moveTo>
                <a:lnTo>
                  <a:pt x="7314462" y="0"/>
                </a:lnTo>
                <a:lnTo>
                  <a:pt x="9864449" y="2549987"/>
                </a:lnTo>
                <a:lnTo>
                  <a:pt x="9864449" y="7148688"/>
                </a:lnTo>
                <a:lnTo>
                  <a:pt x="3544996" y="13468141"/>
                </a:lnTo>
                <a:lnTo>
                  <a:pt x="0" y="9923145"/>
                </a:lnTo>
                <a:close/>
              </a:path>
            </a:pathLst>
          </a:custGeom>
          <a:gradFill>
            <a:gsLst>
              <a:gs pos="0">
                <a:schemeClr val="bg1">
                  <a:alpha val="76000"/>
                </a:schemeClr>
              </a:gs>
              <a:gs pos="89000">
                <a:schemeClr val="tx1">
                  <a:lumMod val="16000"/>
                  <a:lumOff val="84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863" name="Text Placeholder 862">
            <a:extLst>
              <a:ext uri="{FF2B5EF4-FFF2-40B4-BE49-F238E27FC236}">
                <a16:creationId xmlns:a16="http://schemas.microsoft.com/office/drawing/2014/main" id="{806A8161-3A3C-4E8C-98F0-AD01607CDAE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8014" y="2057402"/>
            <a:ext cx="5943599" cy="2285999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3599"/>
            </a:lvl1pPr>
            <a:lvl2pPr marL="272968" indent="0">
              <a:buNone/>
              <a:defRPr/>
            </a:lvl2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512" name="TextBox 1511">
            <a:extLst>
              <a:ext uri="{FF2B5EF4-FFF2-40B4-BE49-F238E27FC236}">
                <a16:creationId xmlns:a16="http://schemas.microsoft.com/office/drawing/2014/main" id="{6C78DB77-69E8-414D-8309-EC1F1C8DCA8E}"/>
              </a:ext>
            </a:extLst>
          </p:cNvPr>
          <p:cNvSpPr txBox="1"/>
          <p:nvPr/>
        </p:nvSpPr>
        <p:spPr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latin typeface="+mj-lt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DA08A2D-0A8A-41FD-AA58-0A072FFF329F}"/>
              </a:ext>
            </a:extLst>
          </p:cNvPr>
          <p:cNvGrpSpPr/>
          <p:nvPr userDrawn="1"/>
        </p:nvGrpSpPr>
        <p:grpSpPr>
          <a:xfrm>
            <a:off x="608013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3596DD11-914A-4FCB-BD5A-B452681B61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522938A5-2D76-46C8-B7C1-3F77D5812E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D6EDDC02-7874-477D-8151-D0B193E894D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11497605-B9F0-499D-9BAD-CAD4DF264DD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87A173DB-972A-49CD-B107-F84916A5F7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AA7E256D-662E-4F46-945F-75B84B1B314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745AE183-7E5A-47CA-8BC0-5071F1977EE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9C494915-7365-4D9B-82B2-73349D47E724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C5E11EA0-C34E-47CC-A1C4-C041612819E2}"/>
              </a:ext>
            </a:extLst>
          </p:cNvPr>
          <p:cNvSpPr/>
          <p:nvPr userDrawn="1"/>
        </p:nvSpPr>
        <p:spPr>
          <a:xfrm rot="2700000">
            <a:off x="9037252" y="3334945"/>
            <a:ext cx="970552" cy="4540137"/>
          </a:xfrm>
          <a:custGeom>
            <a:avLst/>
            <a:gdLst>
              <a:gd name="connsiteX0" fmla="*/ 1 w 970552"/>
              <a:gd name="connsiteY0" fmla="*/ 970551 h 4540137"/>
              <a:gd name="connsiteX1" fmla="*/ 970552 w 970552"/>
              <a:gd name="connsiteY1" fmla="*/ 0 h 4540137"/>
              <a:gd name="connsiteX2" fmla="*/ 970552 w 970552"/>
              <a:gd name="connsiteY2" fmla="*/ 3569585 h 4540137"/>
              <a:gd name="connsiteX3" fmla="*/ 0 w 970552"/>
              <a:gd name="connsiteY3" fmla="*/ 4540137 h 4540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0552" h="4540137">
                <a:moveTo>
                  <a:pt x="1" y="970551"/>
                </a:moveTo>
                <a:lnTo>
                  <a:pt x="970552" y="0"/>
                </a:lnTo>
                <a:lnTo>
                  <a:pt x="970552" y="3569585"/>
                </a:lnTo>
                <a:lnTo>
                  <a:pt x="0" y="4540137"/>
                </a:lnTo>
                <a:close/>
              </a:path>
            </a:pathLst>
          </a:custGeom>
          <a:gradFill>
            <a:gsLst>
              <a:gs pos="24000">
                <a:schemeClr val="accent4"/>
              </a:gs>
              <a:gs pos="87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132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–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4AA04BF1-028D-4BDA-A4B7-2EF92A074224}"/>
              </a:ext>
            </a:extLst>
          </p:cNvPr>
          <p:cNvSpPr/>
          <p:nvPr userDrawn="1"/>
        </p:nvSpPr>
        <p:spPr>
          <a:xfrm rot="2700000">
            <a:off x="810401" y="-3656857"/>
            <a:ext cx="9864449" cy="13468141"/>
          </a:xfrm>
          <a:custGeom>
            <a:avLst/>
            <a:gdLst>
              <a:gd name="connsiteX0" fmla="*/ 0 w 9864449"/>
              <a:gd name="connsiteY0" fmla="*/ 7314461 h 13468141"/>
              <a:gd name="connsiteX1" fmla="*/ 7314462 w 9864449"/>
              <a:gd name="connsiteY1" fmla="*/ 0 h 13468141"/>
              <a:gd name="connsiteX2" fmla="*/ 9864449 w 9864449"/>
              <a:gd name="connsiteY2" fmla="*/ 2549987 h 13468141"/>
              <a:gd name="connsiteX3" fmla="*/ 9864449 w 9864449"/>
              <a:gd name="connsiteY3" fmla="*/ 7148688 h 13468141"/>
              <a:gd name="connsiteX4" fmla="*/ 3544996 w 9864449"/>
              <a:gd name="connsiteY4" fmla="*/ 13468141 h 13468141"/>
              <a:gd name="connsiteX5" fmla="*/ 0 w 9864449"/>
              <a:gd name="connsiteY5" fmla="*/ 9923145 h 134681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864449" h="13468141">
                <a:moveTo>
                  <a:pt x="0" y="7314461"/>
                </a:moveTo>
                <a:lnTo>
                  <a:pt x="7314462" y="0"/>
                </a:lnTo>
                <a:lnTo>
                  <a:pt x="9864449" y="2549987"/>
                </a:lnTo>
                <a:lnTo>
                  <a:pt x="9864449" y="7148688"/>
                </a:lnTo>
                <a:lnTo>
                  <a:pt x="3544996" y="13468141"/>
                </a:lnTo>
                <a:lnTo>
                  <a:pt x="0" y="9923145"/>
                </a:lnTo>
                <a:close/>
              </a:path>
            </a:pathLst>
          </a:custGeom>
          <a:gradFill>
            <a:gsLst>
              <a:gs pos="0">
                <a:schemeClr val="bg1">
                  <a:alpha val="76000"/>
                </a:schemeClr>
              </a:gs>
              <a:gs pos="89000">
                <a:schemeClr val="tx1">
                  <a:lumMod val="16000"/>
                  <a:lumOff val="84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473426A1-35AB-43B6-9A41-2142ACF3ACC4}"/>
              </a:ext>
            </a:extLst>
          </p:cNvPr>
          <p:cNvSpPr/>
          <p:nvPr userDrawn="1"/>
        </p:nvSpPr>
        <p:spPr>
          <a:xfrm rot="2700000">
            <a:off x="9037252" y="3334945"/>
            <a:ext cx="970552" cy="4540137"/>
          </a:xfrm>
          <a:custGeom>
            <a:avLst/>
            <a:gdLst>
              <a:gd name="connsiteX0" fmla="*/ 1 w 970552"/>
              <a:gd name="connsiteY0" fmla="*/ 970551 h 4540137"/>
              <a:gd name="connsiteX1" fmla="*/ 970552 w 970552"/>
              <a:gd name="connsiteY1" fmla="*/ 0 h 4540137"/>
              <a:gd name="connsiteX2" fmla="*/ 970552 w 970552"/>
              <a:gd name="connsiteY2" fmla="*/ 3569585 h 4540137"/>
              <a:gd name="connsiteX3" fmla="*/ 0 w 970552"/>
              <a:gd name="connsiteY3" fmla="*/ 4540137 h 4540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0552" h="4540137">
                <a:moveTo>
                  <a:pt x="1" y="970551"/>
                </a:moveTo>
                <a:lnTo>
                  <a:pt x="970552" y="0"/>
                </a:lnTo>
                <a:lnTo>
                  <a:pt x="970552" y="3569585"/>
                </a:lnTo>
                <a:lnTo>
                  <a:pt x="0" y="4540137"/>
                </a:lnTo>
                <a:close/>
              </a:path>
            </a:pathLst>
          </a:custGeom>
          <a:gradFill>
            <a:gsLst>
              <a:gs pos="24000">
                <a:srgbClr val="7F35AB"/>
              </a:gs>
              <a:gs pos="87000">
                <a:srgbClr val="264088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863" name="Text Placeholder 862">
            <a:extLst>
              <a:ext uri="{FF2B5EF4-FFF2-40B4-BE49-F238E27FC236}">
                <a16:creationId xmlns:a16="http://schemas.microsoft.com/office/drawing/2014/main" id="{806A8161-3A3C-4E8C-98F0-AD01607CDAE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8014" y="2057402"/>
            <a:ext cx="5943599" cy="2285999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3599"/>
            </a:lvl1pPr>
            <a:lvl2pPr marL="272968" indent="0">
              <a:buNone/>
              <a:defRPr/>
            </a:lvl2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512" name="TextBox 1511">
            <a:extLst>
              <a:ext uri="{FF2B5EF4-FFF2-40B4-BE49-F238E27FC236}">
                <a16:creationId xmlns:a16="http://schemas.microsoft.com/office/drawing/2014/main" id="{6C78DB77-69E8-414D-8309-EC1F1C8DCA8E}"/>
              </a:ext>
            </a:extLst>
          </p:cNvPr>
          <p:cNvSpPr txBox="1"/>
          <p:nvPr/>
        </p:nvSpPr>
        <p:spPr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latin typeface="+mj-lt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DA08A2D-0A8A-41FD-AA58-0A072FFF329F}"/>
              </a:ext>
            </a:extLst>
          </p:cNvPr>
          <p:cNvGrpSpPr/>
          <p:nvPr userDrawn="1"/>
        </p:nvGrpSpPr>
        <p:grpSpPr>
          <a:xfrm>
            <a:off x="608013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3596DD11-914A-4FCB-BD5A-B452681B61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522938A5-2D76-46C8-B7C1-3F77D5812E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D6EDDC02-7874-477D-8151-D0B193E894D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11497605-B9F0-499D-9BAD-CAD4DF264DD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87A173DB-972A-49CD-B107-F84916A5F7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AA7E256D-662E-4F46-945F-75B84B1B314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745AE183-7E5A-47CA-8BC0-5071F1977EE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9C494915-7365-4D9B-82B2-73349D47E724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</p:spTree>
    <p:extLst>
      <p:ext uri="{BB962C8B-B14F-4D97-AF65-F5344CB8AC3E}">
        <p14:creationId xmlns:p14="http://schemas.microsoft.com/office/powerpoint/2010/main" val="3616077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–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19A14F3E-8802-40CC-94BC-F7A8969E93E3}"/>
              </a:ext>
            </a:extLst>
          </p:cNvPr>
          <p:cNvSpPr/>
          <p:nvPr userDrawn="1"/>
        </p:nvSpPr>
        <p:spPr>
          <a:xfrm rot="2700000">
            <a:off x="810401" y="-3656857"/>
            <a:ext cx="9864449" cy="13468141"/>
          </a:xfrm>
          <a:custGeom>
            <a:avLst/>
            <a:gdLst>
              <a:gd name="connsiteX0" fmla="*/ 0 w 9864449"/>
              <a:gd name="connsiteY0" fmla="*/ 7314461 h 13468141"/>
              <a:gd name="connsiteX1" fmla="*/ 7314462 w 9864449"/>
              <a:gd name="connsiteY1" fmla="*/ 0 h 13468141"/>
              <a:gd name="connsiteX2" fmla="*/ 9864449 w 9864449"/>
              <a:gd name="connsiteY2" fmla="*/ 2549987 h 13468141"/>
              <a:gd name="connsiteX3" fmla="*/ 9864449 w 9864449"/>
              <a:gd name="connsiteY3" fmla="*/ 7148688 h 13468141"/>
              <a:gd name="connsiteX4" fmla="*/ 3544996 w 9864449"/>
              <a:gd name="connsiteY4" fmla="*/ 13468141 h 13468141"/>
              <a:gd name="connsiteX5" fmla="*/ 0 w 9864449"/>
              <a:gd name="connsiteY5" fmla="*/ 9923145 h 134681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864449" h="13468141">
                <a:moveTo>
                  <a:pt x="0" y="7314461"/>
                </a:moveTo>
                <a:lnTo>
                  <a:pt x="7314462" y="0"/>
                </a:lnTo>
                <a:lnTo>
                  <a:pt x="9864449" y="2549987"/>
                </a:lnTo>
                <a:lnTo>
                  <a:pt x="9864449" y="7148688"/>
                </a:lnTo>
                <a:lnTo>
                  <a:pt x="3544996" y="13468141"/>
                </a:lnTo>
                <a:lnTo>
                  <a:pt x="0" y="9923145"/>
                </a:lnTo>
                <a:close/>
              </a:path>
            </a:pathLst>
          </a:custGeom>
          <a:gradFill>
            <a:gsLst>
              <a:gs pos="0">
                <a:schemeClr val="bg1">
                  <a:alpha val="76000"/>
                </a:schemeClr>
              </a:gs>
              <a:gs pos="89000">
                <a:schemeClr val="tx1">
                  <a:lumMod val="16000"/>
                  <a:lumOff val="84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0CD52C01-87CF-4DAA-AF73-217E439433CA}"/>
              </a:ext>
            </a:extLst>
          </p:cNvPr>
          <p:cNvSpPr/>
          <p:nvPr userDrawn="1"/>
        </p:nvSpPr>
        <p:spPr>
          <a:xfrm rot="2700000">
            <a:off x="9037252" y="3334945"/>
            <a:ext cx="970552" cy="4540137"/>
          </a:xfrm>
          <a:custGeom>
            <a:avLst/>
            <a:gdLst>
              <a:gd name="connsiteX0" fmla="*/ 1 w 970552"/>
              <a:gd name="connsiteY0" fmla="*/ 970551 h 4540137"/>
              <a:gd name="connsiteX1" fmla="*/ 970552 w 970552"/>
              <a:gd name="connsiteY1" fmla="*/ 0 h 4540137"/>
              <a:gd name="connsiteX2" fmla="*/ 970552 w 970552"/>
              <a:gd name="connsiteY2" fmla="*/ 3569585 h 4540137"/>
              <a:gd name="connsiteX3" fmla="*/ 0 w 970552"/>
              <a:gd name="connsiteY3" fmla="*/ 4540137 h 4540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0552" h="4540137">
                <a:moveTo>
                  <a:pt x="1" y="970551"/>
                </a:moveTo>
                <a:lnTo>
                  <a:pt x="970552" y="0"/>
                </a:lnTo>
                <a:lnTo>
                  <a:pt x="970552" y="3569585"/>
                </a:lnTo>
                <a:lnTo>
                  <a:pt x="0" y="4540137"/>
                </a:lnTo>
                <a:close/>
              </a:path>
            </a:pathLst>
          </a:custGeom>
          <a:gradFill>
            <a:gsLst>
              <a:gs pos="24000">
                <a:schemeClr val="accent3"/>
              </a:gs>
              <a:gs pos="87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863" name="Text Placeholder 862">
            <a:extLst>
              <a:ext uri="{FF2B5EF4-FFF2-40B4-BE49-F238E27FC236}">
                <a16:creationId xmlns:a16="http://schemas.microsoft.com/office/drawing/2014/main" id="{806A8161-3A3C-4E8C-98F0-AD01607CDAE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8014" y="2057402"/>
            <a:ext cx="5943599" cy="2285999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3599"/>
            </a:lvl1pPr>
            <a:lvl2pPr marL="272968" indent="0">
              <a:buNone/>
              <a:defRPr/>
            </a:lvl2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512" name="TextBox 1511">
            <a:extLst>
              <a:ext uri="{FF2B5EF4-FFF2-40B4-BE49-F238E27FC236}">
                <a16:creationId xmlns:a16="http://schemas.microsoft.com/office/drawing/2014/main" id="{6C78DB77-69E8-414D-8309-EC1F1C8DCA8E}"/>
              </a:ext>
            </a:extLst>
          </p:cNvPr>
          <p:cNvSpPr txBox="1"/>
          <p:nvPr/>
        </p:nvSpPr>
        <p:spPr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latin typeface="+mj-lt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DA08A2D-0A8A-41FD-AA58-0A072FFF329F}"/>
              </a:ext>
            </a:extLst>
          </p:cNvPr>
          <p:cNvGrpSpPr/>
          <p:nvPr userDrawn="1"/>
        </p:nvGrpSpPr>
        <p:grpSpPr>
          <a:xfrm>
            <a:off x="608013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3596DD11-914A-4FCB-BD5A-B452681B61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522938A5-2D76-46C8-B7C1-3F77D5812E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D6EDDC02-7874-477D-8151-D0B193E894D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11497605-B9F0-499D-9BAD-CAD4DF264DD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87A173DB-972A-49CD-B107-F84916A5F7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AA7E256D-662E-4F46-945F-75B84B1B314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745AE183-7E5A-47CA-8BC0-5071F1977EE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9C494915-7365-4D9B-82B2-73349D47E724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</p:spTree>
    <p:extLst>
      <p:ext uri="{BB962C8B-B14F-4D97-AF65-F5344CB8AC3E}">
        <p14:creationId xmlns:p14="http://schemas.microsoft.com/office/powerpoint/2010/main" val="1158327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with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B95FD2E6-B8EA-4366-97C4-6A53370F84D0}"/>
              </a:ext>
            </a:extLst>
          </p:cNvPr>
          <p:cNvSpPr/>
          <p:nvPr userDrawn="1"/>
        </p:nvSpPr>
        <p:spPr>
          <a:xfrm>
            <a:off x="5379720" y="-52904"/>
            <a:ext cx="6809966" cy="6821367"/>
          </a:xfrm>
          <a:custGeom>
            <a:avLst/>
            <a:gdLst>
              <a:gd name="connsiteX0" fmla="*/ 6845677 w 6846538"/>
              <a:gd name="connsiteY0" fmla="*/ 4820854 h 6858000"/>
              <a:gd name="connsiteX1" fmla="*/ 4811938 w 6846538"/>
              <a:gd name="connsiteY1" fmla="*/ 6857998 h 6858000"/>
              <a:gd name="connsiteX2" fmla="*/ 6845677 w 6846538"/>
              <a:gd name="connsiteY2" fmla="*/ 6857998 h 6858000"/>
              <a:gd name="connsiteX3" fmla="*/ 6846538 w 6846538"/>
              <a:gd name="connsiteY3" fmla="*/ 0 h 6858000"/>
              <a:gd name="connsiteX4" fmla="*/ 6846538 w 6846538"/>
              <a:gd name="connsiteY4" fmla="*/ 6858000 h 6858000"/>
              <a:gd name="connsiteX5" fmla="*/ 0 w 684653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46538" h="6858000">
                <a:moveTo>
                  <a:pt x="6845677" y="4820854"/>
                </a:moveTo>
                <a:lnTo>
                  <a:pt x="4811938" y="6857998"/>
                </a:lnTo>
                <a:lnTo>
                  <a:pt x="6845677" y="6857998"/>
                </a:lnTo>
                <a:close/>
                <a:moveTo>
                  <a:pt x="6846538" y="0"/>
                </a:moveTo>
                <a:lnTo>
                  <a:pt x="6846538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bg1">
                  <a:alpha val="76000"/>
                </a:schemeClr>
              </a:gs>
              <a:gs pos="89000">
                <a:schemeClr val="tx1">
                  <a:lumMod val="16000"/>
                  <a:lumOff val="84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774" name="TextBox 773">
            <a:extLst>
              <a:ext uri="{FF2B5EF4-FFF2-40B4-BE49-F238E27FC236}">
                <a16:creationId xmlns:a16="http://schemas.microsoft.com/office/drawing/2014/main" id="{BC2C04F8-C4D0-4DA4-8689-3A3303F0660F}"/>
              </a:ext>
            </a:extLst>
          </p:cNvPr>
          <p:cNvSpPr txBox="1"/>
          <p:nvPr userDrawn="1"/>
        </p:nvSpPr>
        <p:spPr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latin typeface="+mj-lt"/>
            </a:endParaRPr>
          </a:p>
        </p:txBody>
      </p:sp>
      <p:sp>
        <p:nvSpPr>
          <p:cNvPr id="2147" name="Oval 2146">
            <a:extLst>
              <a:ext uri="{FF2B5EF4-FFF2-40B4-BE49-F238E27FC236}">
                <a16:creationId xmlns:a16="http://schemas.microsoft.com/office/drawing/2014/main" id="{FDDA58E5-A99B-48C0-A6B7-6BAE32E46F62}"/>
              </a:ext>
            </a:extLst>
          </p:cNvPr>
          <p:cNvSpPr/>
          <p:nvPr userDrawn="1"/>
        </p:nvSpPr>
        <p:spPr bwMode="gray">
          <a:xfrm>
            <a:off x="7273816" y="1515193"/>
            <a:ext cx="3735912" cy="3735912"/>
          </a:xfrm>
          <a:prstGeom prst="ellipse">
            <a:avLst/>
          </a:prstGeom>
          <a:solidFill>
            <a:schemeClr val="accent1"/>
          </a:solidFill>
          <a:ln w="76200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60307" lvl="0" algn="ctr">
              <a:spcAft>
                <a:spcPts val="800"/>
              </a:spcAft>
            </a:pPr>
            <a:endParaRPr lang="en-US" sz="1400" kern="0"/>
          </a:p>
        </p:txBody>
      </p:sp>
      <p:sp>
        <p:nvSpPr>
          <p:cNvPr id="18" name="Text Placeholder 862">
            <a:extLst>
              <a:ext uri="{FF2B5EF4-FFF2-40B4-BE49-F238E27FC236}">
                <a16:creationId xmlns:a16="http://schemas.microsoft.com/office/drawing/2014/main" id="{E56855D3-D3B3-4208-ADBF-9790190F0A6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8014" y="2514602"/>
            <a:ext cx="5485844" cy="1828799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3599"/>
            </a:lvl1pPr>
            <a:lvl2pPr marL="272968" indent="0">
              <a:buNone/>
              <a:defRPr/>
            </a:lvl2pPr>
          </a:lstStyle>
          <a:p>
            <a:pPr lvl="0"/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543813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with Icon –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904AD3C8-5B0F-4AB1-B568-AA55FF64194A}"/>
              </a:ext>
            </a:extLst>
          </p:cNvPr>
          <p:cNvSpPr/>
          <p:nvPr userDrawn="1"/>
        </p:nvSpPr>
        <p:spPr>
          <a:xfrm>
            <a:off x="5379720" y="-52904"/>
            <a:ext cx="6809966" cy="6821367"/>
          </a:xfrm>
          <a:custGeom>
            <a:avLst/>
            <a:gdLst>
              <a:gd name="connsiteX0" fmla="*/ 6845677 w 6846538"/>
              <a:gd name="connsiteY0" fmla="*/ 4820854 h 6858000"/>
              <a:gd name="connsiteX1" fmla="*/ 4811938 w 6846538"/>
              <a:gd name="connsiteY1" fmla="*/ 6857998 h 6858000"/>
              <a:gd name="connsiteX2" fmla="*/ 6845677 w 6846538"/>
              <a:gd name="connsiteY2" fmla="*/ 6857998 h 6858000"/>
              <a:gd name="connsiteX3" fmla="*/ 6846538 w 6846538"/>
              <a:gd name="connsiteY3" fmla="*/ 0 h 6858000"/>
              <a:gd name="connsiteX4" fmla="*/ 6846538 w 6846538"/>
              <a:gd name="connsiteY4" fmla="*/ 6858000 h 6858000"/>
              <a:gd name="connsiteX5" fmla="*/ 0 w 684653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46538" h="6858000">
                <a:moveTo>
                  <a:pt x="6845677" y="4820854"/>
                </a:moveTo>
                <a:lnTo>
                  <a:pt x="4811938" y="6857998"/>
                </a:lnTo>
                <a:lnTo>
                  <a:pt x="6845677" y="6857998"/>
                </a:lnTo>
                <a:close/>
                <a:moveTo>
                  <a:pt x="6846538" y="0"/>
                </a:moveTo>
                <a:lnTo>
                  <a:pt x="6846538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bg1">
                  <a:alpha val="76000"/>
                </a:schemeClr>
              </a:gs>
              <a:gs pos="89000">
                <a:schemeClr val="tx1">
                  <a:lumMod val="16000"/>
                  <a:lumOff val="84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774" name="TextBox 773">
            <a:extLst>
              <a:ext uri="{FF2B5EF4-FFF2-40B4-BE49-F238E27FC236}">
                <a16:creationId xmlns:a16="http://schemas.microsoft.com/office/drawing/2014/main" id="{BC2C04F8-C4D0-4DA4-8689-3A3303F0660F}"/>
              </a:ext>
            </a:extLst>
          </p:cNvPr>
          <p:cNvSpPr txBox="1"/>
          <p:nvPr userDrawn="1"/>
        </p:nvSpPr>
        <p:spPr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latin typeface="+mj-lt"/>
            </a:endParaRPr>
          </a:p>
        </p:txBody>
      </p:sp>
      <p:sp>
        <p:nvSpPr>
          <p:cNvPr id="2147" name="Oval 2146">
            <a:extLst>
              <a:ext uri="{FF2B5EF4-FFF2-40B4-BE49-F238E27FC236}">
                <a16:creationId xmlns:a16="http://schemas.microsoft.com/office/drawing/2014/main" id="{FDDA58E5-A99B-48C0-A6B7-6BAE32E46F62}"/>
              </a:ext>
            </a:extLst>
          </p:cNvPr>
          <p:cNvSpPr/>
          <p:nvPr userDrawn="1"/>
        </p:nvSpPr>
        <p:spPr bwMode="gray">
          <a:xfrm rot="10800000">
            <a:off x="7273816" y="1515193"/>
            <a:ext cx="3735912" cy="3735912"/>
          </a:xfrm>
          <a:prstGeom prst="ellipse">
            <a:avLst/>
          </a:prstGeom>
          <a:solidFill>
            <a:schemeClr val="accent4"/>
          </a:solidFill>
          <a:ln w="76200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60307" lvl="0" algn="ctr">
              <a:spcAft>
                <a:spcPts val="800"/>
              </a:spcAft>
            </a:pPr>
            <a:endParaRPr lang="en-US" sz="1400" kern="0"/>
          </a:p>
        </p:txBody>
      </p:sp>
      <p:sp>
        <p:nvSpPr>
          <p:cNvPr id="18" name="Text Placeholder 862">
            <a:extLst>
              <a:ext uri="{FF2B5EF4-FFF2-40B4-BE49-F238E27FC236}">
                <a16:creationId xmlns:a16="http://schemas.microsoft.com/office/drawing/2014/main" id="{E56855D3-D3B3-4208-ADBF-9790190F0A6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8014" y="2514602"/>
            <a:ext cx="5485844" cy="1828799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3599"/>
            </a:lvl1pPr>
            <a:lvl2pPr marL="272968" indent="0">
              <a:buNone/>
              <a:defRPr/>
            </a:lvl2pPr>
          </a:lstStyle>
          <a:p>
            <a:pPr lvl="0"/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271083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with Icon –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8E49745E-959E-424E-B5AD-B75ACA32BFE8}"/>
              </a:ext>
            </a:extLst>
          </p:cNvPr>
          <p:cNvSpPr/>
          <p:nvPr userDrawn="1"/>
        </p:nvSpPr>
        <p:spPr>
          <a:xfrm>
            <a:off x="5379720" y="-52904"/>
            <a:ext cx="6809966" cy="6821367"/>
          </a:xfrm>
          <a:custGeom>
            <a:avLst/>
            <a:gdLst>
              <a:gd name="connsiteX0" fmla="*/ 6845677 w 6846538"/>
              <a:gd name="connsiteY0" fmla="*/ 4820854 h 6858000"/>
              <a:gd name="connsiteX1" fmla="*/ 4811938 w 6846538"/>
              <a:gd name="connsiteY1" fmla="*/ 6857998 h 6858000"/>
              <a:gd name="connsiteX2" fmla="*/ 6845677 w 6846538"/>
              <a:gd name="connsiteY2" fmla="*/ 6857998 h 6858000"/>
              <a:gd name="connsiteX3" fmla="*/ 6846538 w 6846538"/>
              <a:gd name="connsiteY3" fmla="*/ 0 h 6858000"/>
              <a:gd name="connsiteX4" fmla="*/ 6846538 w 6846538"/>
              <a:gd name="connsiteY4" fmla="*/ 6858000 h 6858000"/>
              <a:gd name="connsiteX5" fmla="*/ 0 w 684653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46538" h="6858000">
                <a:moveTo>
                  <a:pt x="6845677" y="4820854"/>
                </a:moveTo>
                <a:lnTo>
                  <a:pt x="4811938" y="6857998"/>
                </a:lnTo>
                <a:lnTo>
                  <a:pt x="6845677" y="6857998"/>
                </a:lnTo>
                <a:close/>
                <a:moveTo>
                  <a:pt x="6846538" y="0"/>
                </a:moveTo>
                <a:lnTo>
                  <a:pt x="6846538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bg1">
                  <a:alpha val="76000"/>
                </a:schemeClr>
              </a:gs>
              <a:gs pos="89000">
                <a:schemeClr val="tx1">
                  <a:lumMod val="16000"/>
                  <a:lumOff val="84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774" name="TextBox 773">
            <a:extLst>
              <a:ext uri="{FF2B5EF4-FFF2-40B4-BE49-F238E27FC236}">
                <a16:creationId xmlns:a16="http://schemas.microsoft.com/office/drawing/2014/main" id="{BC2C04F8-C4D0-4DA4-8689-3A3303F0660F}"/>
              </a:ext>
            </a:extLst>
          </p:cNvPr>
          <p:cNvSpPr txBox="1"/>
          <p:nvPr userDrawn="1"/>
        </p:nvSpPr>
        <p:spPr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latin typeface="+mj-lt"/>
            </a:endParaRPr>
          </a:p>
        </p:txBody>
      </p:sp>
      <p:sp>
        <p:nvSpPr>
          <p:cNvPr id="2147" name="Oval 2146">
            <a:extLst>
              <a:ext uri="{FF2B5EF4-FFF2-40B4-BE49-F238E27FC236}">
                <a16:creationId xmlns:a16="http://schemas.microsoft.com/office/drawing/2014/main" id="{FDDA58E5-A99B-48C0-A6B7-6BAE32E46F62}"/>
              </a:ext>
            </a:extLst>
          </p:cNvPr>
          <p:cNvSpPr/>
          <p:nvPr userDrawn="1"/>
        </p:nvSpPr>
        <p:spPr bwMode="gray">
          <a:xfrm>
            <a:off x="7273816" y="1515193"/>
            <a:ext cx="3735912" cy="3735912"/>
          </a:xfrm>
          <a:prstGeom prst="ellipse">
            <a:avLst/>
          </a:prstGeom>
          <a:solidFill>
            <a:schemeClr val="accent5"/>
          </a:solidFill>
          <a:ln w="76200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60307" lvl="0" algn="ctr">
              <a:spcAft>
                <a:spcPts val="800"/>
              </a:spcAft>
            </a:pPr>
            <a:endParaRPr lang="en-US" sz="1400" kern="0"/>
          </a:p>
        </p:txBody>
      </p:sp>
      <p:sp>
        <p:nvSpPr>
          <p:cNvPr id="18" name="Text Placeholder 862">
            <a:extLst>
              <a:ext uri="{FF2B5EF4-FFF2-40B4-BE49-F238E27FC236}">
                <a16:creationId xmlns:a16="http://schemas.microsoft.com/office/drawing/2014/main" id="{E56855D3-D3B3-4208-ADBF-9790190F0A6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8014" y="2514602"/>
            <a:ext cx="5485844" cy="1828799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3599"/>
            </a:lvl1pPr>
            <a:lvl2pPr marL="272968" indent="0">
              <a:buNone/>
              <a:defRPr/>
            </a:lvl2pPr>
          </a:lstStyle>
          <a:p>
            <a:pPr lvl="0"/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583491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Content Balanc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B6A9629E-98B5-43F5-8323-C894B734208A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dirty="0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00E4C6-16B5-49A9-898A-3B53C5AB06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One Line Tit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38535540-CB20-4CD5-9F73-DB64F5A49CD3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7AF420A-ED2C-4AD1-A28B-EB26178557D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-1" y="1600200"/>
            <a:ext cx="5893593" cy="4572000"/>
          </a:xfrm>
        </p:spPr>
        <p:txBody>
          <a:bodyPr lIns="594360"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400"/>
            </a:lvl7pPr>
            <a:lvl8pPr>
              <a:defRPr sz="1200"/>
            </a:lvl8pPr>
            <a:lvl9pPr>
              <a:defRPr sz="18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5"/>
            <a:endParaRPr lang="en-US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CD860A49-A98C-4F0E-AB34-4E13B89D5EBC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321287" y="1600200"/>
            <a:ext cx="5867538" cy="4572000"/>
          </a:xfrm>
        </p:spPr>
        <p:txBody>
          <a:bodyPr lIns="0" rIns="594360"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400"/>
            </a:lvl7pPr>
            <a:lvl8pPr>
              <a:defRPr sz="1200"/>
            </a:lvl8pPr>
            <a:lvl9pPr>
              <a:defRPr sz="18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 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601335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5DD6E7D-B875-48DF-B6A8-450BD6AE171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785689" y="0"/>
            <a:ext cx="5403138" cy="6764798"/>
          </a:xfrm>
        </p:spPr>
        <p:txBody>
          <a:bodyPr lIns="640080" tIns="0" rIns="640080" anchor="ctr"/>
          <a:lstStyle>
            <a:lvl1pPr algn="ctr">
              <a:defRPr/>
            </a:lvl1pPr>
          </a:lstStyle>
          <a:p>
            <a:r>
              <a:rPr lang="en-US"/>
              <a:t>Click on the icon to insert a picture from your computer</a:t>
            </a:r>
          </a:p>
        </p:txBody>
      </p:sp>
      <p:sp>
        <p:nvSpPr>
          <p:cNvPr id="17" name="Text Placeholder 862">
            <a:extLst>
              <a:ext uri="{FF2B5EF4-FFF2-40B4-BE49-F238E27FC236}">
                <a16:creationId xmlns:a16="http://schemas.microsoft.com/office/drawing/2014/main" id="{C8F55BC8-3E55-49EB-BF20-18EB4F7F597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8014" y="2514602"/>
            <a:ext cx="5485844" cy="1828799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3599"/>
            </a:lvl1pPr>
            <a:lvl2pPr marL="272968" indent="0">
              <a:buNone/>
              <a:defRPr/>
            </a:lvl2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A6E1A1B-7C56-4DE3-BC90-B387C7F3E670}"/>
              </a:ext>
            </a:extLst>
          </p:cNvPr>
          <p:cNvSpPr txBox="1"/>
          <p:nvPr userDrawn="1"/>
        </p:nvSpPr>
        <p:spPr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414833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ist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0F1D41E-848B-4178-A0D2-2A18C6921400}"/>
              </a:ext>
            </a:extLst>
          </p:cNvPr>
          <p:cNvSpPr/>
          <p:nvPr userDrawn="1"/>
        </p:nvSpPr>
        <p:spPr bwMode="hidden">
          <a:xfrm>
            <a:off x="1" y="0"/>
            <a:ext cx="12188822" cy="4332288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1ED419A-30D8-44AB-9256-156B54D449CD}"/>
              </a:ext>
            </a:extLst>
          </p:cNvPr>
          <p:cNvSpPr/>
          <p:nvPr userDrawn="1"/>
        </p:nvSpPr>
        <p:spPr bwMode="white">
          <a:xfrm>
            <a:off x="672527" y="722997"/>
            <a:ext cx="4470400" cy="4470400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E4BDA96F-134D-4855-8751-F1043ABF3B4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01" y="2514601"/>
            <a:ext cx="5027613" cy="1371601"/>
          </a:xfrm>
        </p:spPr>
        <p:txBody>
          <a:bodyPr anchor="ctr"/>
          <a:lstStyle>
            <a:lvl1pPr>
              <a:spcBef>
                <a:spcPts val="0"/>
              </a:spcBef>
              <a:defRPr sz="3599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3" name="Chart Placeholder 22">
            <a:extLst>
              <a:ext uri="{FF2B5EF4-FFF2-40B4-BE49-F238E27FC236}">
                <a16:creationId xmlns:a16="http://schemas.microsoft.com/office/drawing/2014/main" id="{4093E53D-7586-4113-99BD-F45F1343692F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662673" y="722997"/>
            <a:ext cx="4480256" cy="448025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insert a </a:t>
            </a:r>
            <a:br>
              <a:rPr lang="en-US"/>
            </a:br>
            <a:r>
              <a:rPr lang="en-US"/>
              <a:t>Doughnut char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C4F4198-4BE0-4282-8B86-20DED598DC1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8331" y="5507147"/>
            <a:ext cx="1371064" cy="423862"/>
          </a:xfrm>
        </p:spPr>
        <p:txBody>
          <a:bodyPr/>
          <a:lstStyle>
            <a:lvl1pPr algn="l">
              <a:defRPr sz="12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0" name="Text Placeholder 12">
            <a:extLst>
              <a:ext uri="{FF2B5EF4-FFF2-40B4-BE49-F238E27FC236}">
                <a16:creationId xmlns:a16="http://schemas.microsoft.com/office/drawing/2014/main" id="{4B5F4E67-F2E8-4777-B495-668C321DCBA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436417" y="5507147"/>
            <a:ext cx="1371064" cy="423862"/>
          </a:xfrm>
        </p:spPr>
        <p:txBody>
          <a:bodyPr/>
          <a:lstStyle>
            <a:lvl1pPr algn="l">
              <a:defRPr sz="12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1" name="Text Placeholder 12">
            <a:extLst>
              <a:ext uri="{FF2B5EF4-FFF2-40B4-BE49-F238E27FC236}">
                <a16:creationId xmlns:a16="http://schemas.microsoft.com/office/drawing/2014/main" id="{704846F3-64ED-4181-8AEC-68B9734DA96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261103" y="5507147"/>
            <a:ext cx="1371064" cy="423862"/>
          </a:xfrm>
        </p:spPr>
        <p:txBody>
          <a:bodyPr/>
          <a:lstStyle>
            <a:lvl1pPr algn="l">
              <a:defRPr sz="12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2" name="Text Placeholder 12">
            <a:extLst>
              <a:ext uri="{FF2B5EF4-FFF2-40B4-BE49-F238E27FC236}">
                <a16:creationId xmlns:a16="http://schemas.microsoft.com/office/drawing/2014/main" id="{DD17F439-D919-44B7-889F-96A1DAF172D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88110" y="5507147"/>
            <a:ext cx="1371064" cy="423862"/>
          </a:xfrm>
        </p:spPr>
        <p:txBody>
          <a:bodyPr/>
          <a:lstStyle>
            <a:lvl1pPr algn="l">
              <a:defRPr sz="1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3" name="Text Placeholder 12">
            <a:extLst>
              <a:ext uri="{FF2B5EF4-FFF2-40B4-BE49-F238E27FC236}">
                <a16:creationId xmlns:a16="http://schemas.microsoft.com/office/drawing/2014/main" id="{0DA74846-CC03-44FE-9AE5-4975E808F8A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920672" y="5507147"/>
            <a:ext cx="1371064" cy="423862"/>
          </a:xfrm>
        </p:spPr>
        <p:txBody>
          <a:bodyPr/>
          <a:lstStyle>
            <a:lvl1pPr algn="l"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4" name="Text Placeholder 12">
            <a:extLst>
              <a:ext uri="{FF2B5EF4-FFF2-40B4-BE49-F238E27FC236}">
                <a16:creationId xmlns:a16="http://schemas.microsoft.com/office/drawing/2014/main" id="{EB51A67B-FBDC-4AB8-B81A-6B6B96D04F4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750029" y="5507147"/>
            <a:ext cx="1371064" cy="423862"/>
          </a:xfrm>
        </p:spPr>
        <p:txBody>
          <a:bodyPr/>
          <a:lstStyle>
            <a:lvl1pPr algn="l">
              <a:defRPr sz="12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6C03ACE7-B591-43FD-A636-47D01F482F04}"/>
              </a:ext>
            </a:extLst>
          </p:cNvPr>
          <p:cNvSpPr txBox="1"/>
          <p:nvPr userDrawn="1"/>
        </p:nvSpPr>
        <p:spPr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336199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55025D71-18A5-4A22-8386-917E1B08C46A}"/>
              </a:ext>
            </a:extLst>
          </p:cNvPr>
          <p:cNvSpPr txBox="1"/>
          <p:nvPr userDrawn="1"/>
        </p:nvSpPr>
        <p:spPr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950944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/ 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A88A8ACB-CBE3-4DC0-BBE3-C6829C462CD7}"/>
              </a:ext>
            </a:extLst>
          </p:cNvPr>
          <p:cNvSpPr/>
          <p:nvPr userDrawn="1"/>
        </p:nvSpPr>
        <p:spPr>
          <a:xfrm rot="2700000">
            <a:off x="500103" y="-2250712"/>
            <a:ext cx="2891746" cy="8395793"/>
          </a:xfrm>
          <a:custGeom>
            <a:avLst/>
            <a:gdLst>
              <a:gd name="connsiteX0" fmla="*/ 0 w 2891746"/>
              <a:gd name="connsiteY0" fmla="*/ 2890035 h 8395793"/>
              <a:gd name="connsiteX1" fmla="*/ 1390389 w 2891746"/>
              <a:gd name="connsiteY1" fmla="*/ 1499646 h 8395793"/>
              <a:gd name="connsiteX2" fmla="*/ 1390389 w 2891746"/>
              <a:gd name="connsiteY2" fmla="*/ 1499646 h 8395793"/>
              <a:gd name="connsiteX3" fmla="*/ 2890036 w 2891746"/>
              <a:gd name="connsiteY3" fmla="*/ 0 h 8395793"/>
              <a:gd name="connsiteX4" fmla="*/ 2890036 w 2891746"/>
              <a:gd name="connsiteY4" fmla="*/ 8322767 h 8395793"/>
              <a:gd name="connsiteX5" fmla="*/ 2891746 w 2891746"/>
              <a:gd name="connsiteY5" fmla="*/ 8340727 h 8395793"/>
              <a:gd name="connsiteX6" fmla="*/ 2891741 w 2891746"/>
              <a:gd name="connsiteY6" fmla="*/ 8395793 h 8395793"/>
              <a:gd name="connsiteX7" fmla="*/ 2546313 w 2891746"/>
              <a:gd name="connsiteY7" fmla="*/ 8050365 h 8395793"/>
              <a:gd name="connsiteX8" fmla="*/ 2546315 w 2891746"/>
              <a:gd name="connsiteY8" fmla="*/ 8050364 h 8395793"/>
              <a:gd name="connsiteX9" fmla="*/ 0 w 2891746"/>
              <a:gd name="connsiteY9" fmla="*/ 5504049 h 83957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891746" h="8395793">
                <a:moveTo>
                  <a:pt x="0" y="2890035"/>
                </a:moveTo>
                <a:lnTo>
                  <a:pt x="1390389" y="1499646"/>
                </a:lnTo>
                <a:lnTo>
                  <a:pt x="1390389" y="1499646"/>
                </a:lnTo>
                <a:lnTo>
                  <a:pt x="2890036" y="0"/>
                </a:lnTo>
                <a:lnTo>
                  <a:pt x="2890036" y="8322767"/>
                </a:lnTo>
                <a:lnTo>
                  <a:pt x="2891746" y="8340727"/>
                </a:lnTo>
                <a:lnTo>
                  <a:pt x="2891741" y="8395793"/>
                </a:lnTo>
                <a:lnTo>
                  <a:pt x="2546313" y="8050365"/>
                </a:lnTo>
                <a:lnTo>
                  <a:pt x="2546315" y="8050364"/>
                </a:lnTo>
                <a:lnTo>
                  <a:pt x="0" y="5504049"/>
                </a:lnTo>
                <a:close/>
              </a:path>
            </a:pathLst>
          </a:custGeom>
          <a:gradFill>
            <a:gsLst>
              <a:gs pos="24000">
                <a:schemeClr val="accent4"/>
              </a:gs>
              <a:gs pos="100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5B87096-C8D7-45D0-8DCC-218276F547CC}"/>
              </a:ext>
            </a:extLst>
          </p:cNvPr>
          <p:cNvGrpSpPr/>
          <p:nvPr userDrawn="1"/>
        </p:nvGrpSpPr>
        <p:grpSpPr>
          <a:xfrm>
            <a:off x="608013" y="6445106"/>
            <a:ext cx="1184397" cy="186690"/>
            <a:chOff x="863272" y="6563918"/>
            <a:chExt cx="861082" cy="135727"/>
          </a:xfrm>
          <a:solidFill>
            <a:schemeClr val="tx1"/>
          </a:solidFill>
        </p:grpSpPr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FAC0FC71-A82A-4369-B44E-4E8FF53CA1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0D84D398-3251-432F-8986-05570D3BB8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07096BFD-803A-42D4-BA19-C683E35B0D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089E6840-6882-4279-A152-16C7CCB9BE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021DF59C-D6C9-4EC0-90A3-7752F6B722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E4C478B3-2ECE-440E-A04E-B8C84D0416E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2190CFD5-6EEA-46D1-AE5E-D69C2E08F3D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D479A9FB-8CEE-475F-BF22-3B0B11EB4E81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52F598B-F734-42BE-8CB8-5E3FDDD7ED52}"/>
              </a:ext>
            </a:extLst>
          </p:cNvPr>
          <p:cNvSpPr txBox="1"/>
          <p:nvPr userDrawn="1"/>
        </p:nvSpPr>
        <p:spPr>
          <a:xfrm>
            <a:off x="7122913" y="4133699"/>
            <a:ext cx="3585557" cy="69249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r" defTabSz="914126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en-US" sz="4999" b="0" kern="1200" cap="none" baseline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t>Thank You</a:t>
            </a: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5B8D218C-9E1A-4E8B-A343-F3F3A628E78E}"/>
              </a:ext>
            </a:extLst>
          </p:cNvPr>
          <p:cNvSpPr/>
          <p:nvPr userDrawn="1"/>
        </p:nvSpPr>
        <p:spPr>
          <a:xfrm rot="18900000">
            <a:off x="-1253437" y="2913755"/>
            <a:ext cx="6372785" cy="905566"/>
          </a:xfrm>
          <a:custGeom>
            <a:avLst/>
            <a:gdLst>
              <a:gd name="connsiteX0" fmla="*/ 6372785 w 6372785"/>
              <a:gd name="connsiteY0" fmla="*/ 0 h 905566"/>
              <a:gd name="connsiteX1" fmla="*/ 6372785 w 6372785"/>
              <a:gd name="connsiteY1" fmla="*/ 905566 h 905566"/>
              <a:gd name="connsiteX2" fmla="*/ 0 w 6372785"/>
              <a:gd name="connsiteY2" fmla="*/ 905566 h 905566"/>
              <a:gd name="connsiteX3" fmla="*/ 905566 w 6372785"/>
              <a:gd name="connsiteY3" fmla="*/ 0 h 9055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72785" h="905566">
                <a:moveTo>
                  <a:pt x="6372785" y="0"/>
                </a:moveTo>
                <a:lnTo>
                  <a:pt x="6372785" y="905566"/>
                </a:lnTo>
                <a:lnTo>
                  <a:pt x="0" y="905566"/>
                </a:lnTo>
                <a:lnTo>
                  <a:pt x="905566" y="0"/>
                </a:lnTo>
                <a:close/>
              </a:path>
            </a:pathLst>
          </a:custGeom>
          <a:gradFill>
            <a:gsLst>
              <a:gs pos="94000">
                <a:schemeClr val="bg1"/>
              </a:gs>
              <a:gs pos="16000">
                <a:schemeClr val="accent4"/>
              </a:gs>
              <a:gs pos="76000">
                <a:schemeClr val="bg1">
                  <a:alpha val="91000"/>
                </a:schemeClr>
              </a:gs>
            </a:gsLst>
            <a:lin ang="7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4716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/ Closing –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171CD93A-658C-4473-839D-9C0B5E8F5F7C}"/>
              </a:ext>
            </a:extLst>
          </p:cNvPr>
          <p:cNvGrpSpPr/>
          <p:nvPr userDrawn="1"/>
        </p:nvGrpSpPr>
        <p:grpSpPr>
          <a:xfrm>
            <a:off x="608013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CDFBF2D3-5C06-47C4-A81C-0305B322C5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464D7FA4-CABA-4E4E-ACCA-68953799CF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4EB1261E-CBF9-4479-A018-76C0F24D3B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8C4A243B-FBF5-4C04-8CD0-8E1C4721D9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F67E765D-8E8B-44F9-BE70-63FC0512FD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1B4614B4-F94A-4053-B179-EC5C3F70A9E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E157F005-56AC-4E75-8AA5-582D0D69E2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9473A8DE-DD1F-43EE-8FA2-4C689A038BA5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1594E1E-E234-471D-B539-F75E8CC06D07}"/>
              </a:ext>
            </a:extLst>
          </p:cNvPr>
          <p:cNvSpPr txBox="1"/>
          <p:nvPr userDrawn="1"/>
        </p:nvSpPr>
        <p:spPr>
          <a:xfrm>
            <a:off x="7122913" y="4133699"/>
            <a:ext cx="3585557" cy="69249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r" defTabSz="914126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en-US" sz="4999" b="0" kern="1200" cap="none" baseline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t>Thank You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4C67E5CD-C662-462D-9821-CBF45A809F13}"/>
              </a:ext>
            </a:extLst>
          </p:cNvPr>
          <p:cNvSpPr/>
          <p:nvPr userDrawn="1"/>
        </p:nvSpPr>
        <p:spPr>
          <a:xfrm rot="2700000">
            <a:off x="500103" y="-2250712"/>
            <a:ext cx="2891746" cy="8395793"/>
          </a:xfrm>
          <a:custGeom>
            <a:avLst/>
            <a:gdLst>
              <a:gd name="connsiteX0" fmla="*/ 0 w 2891746"/>
              <a:gd name="connsiteY0" fmla="*/ 2890035 h 8395793"/>
              <a:gd name="connsiteX1" fmla="*/ 1390389 w 2891746"/>
              <a:gd name="connsiteY1" fmla="*/ 1499646 h 8395793"/>
              <a:gd name="connsiteX2" fmla="*/ 1390389 w 2891746"/>
              <a:gd name="connsiteY2" fmla="*/ 1499646 h 8395793"/>
              <a:gd name="connsiteX3" fmla="*/ 2890036 w 2891746"/>
              <a:gd name="connsiteY3" fmla="*/ 0 h 8395793"/>
              <a:gd name="connsiteX4" fmla="*/ 2890036 w 2891746"/>
              <a:gd name="connsiteY4" fmla="*/ 8322767 h 8395793"/>
              <a:gd name="connsiteX5" fmla="*/ 2891746 w 2891746"/>
              <a:gd name="connsiteY5" fmla="*/ 8340727 h 8395793"/>
              <a:gd name="connsiteX6" fmla="*/ 2891741 w 2891746"/>
              <a:gd name="connsiteY6" fmla="*/ 8395793 h 8395793"/>
              <a:gd name="connsiteX7" fmla="*/ 2546313 w 2891746"/>
              <a:gd name="connsiteY7" fmla="*/ 8050365 h 8395793"/>
              <a:gd name="connsiteX8" fmla="*/ 2546315 w 2891746"/>
              <a:gd name="connsiteY8" fmla="*/ 8050364 h 8395793"/>
              <a:gd name="connsiteX9" fmla="*/ 0 w 2891746"/>
              <a:gd name="connsiteY9" fmla="*/ 5504049 h 83957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891746" h="8395793">
                <a:moveTo>
                  <a:pt x="0" y="2890035"/>
                </a:moveTo>
                <a:lnTo>
                  <a:pt x="1390389" y="1499646"/>
                </a:lnTo>
                <a:lnTo>
                  <a:pt x="1390389" y="1499646"/>
                </a:lnTo>
                <a:lnTo>
                  <a:pt x="2890036" y="0"/>
                </a:lnTo>
                <a:lnTo>
                  <a:pt x="2890036" y="8322767"/>
                </a:lnTo>
                <a:lnTo>
                  <a:pt x="2891746" y="8340727"/>
                </a:lnTo>
                <a:lnTo>
                  <a:pt x="2891741" y="8395793"/>
                </a:lnTo>
                <a:lnTo>
                  <a:pt x="2546313" y="8050365"/>
                </a:lnTo>
                <a:lnTo>
                  <a:pt x="2546315" y="8050364"/>
                </a:lnTo>
                <a:lnTo>
                  <a:pt x="0" y="5504049"/>
                </a:lnTo>
                <a:close/>
              </a:path>
            </a:pathLst>
          </a:custGeom>
          <a:gradFill>
            <a:gsLst>
              <a:gs pos="24000">
                <a:srgbClr val="7F35AB"/>
              </a:gs>
              <a:gs pos="87000">
                <a:srgbClr val="264088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DBDC7692-DF81-49A0-9672-BF8E1DB9B662}"/>
              </a:ext>
            </a:extLst>
          </p:cNvPr>
          <p:cNvSpPr/>
          <p:nvPr userDrawn="1"/>
        </p:nvSpPr>
        <p:spPr>
          <a:xfrm rot="18900000">
            <a:off x="-1253437" y="2913755"/>
            <a:ext cx="6372785" cy="905566"/>
          </a:xfrm>
          <a:custGeom>
            <a:avLst/>
            <a:gdLst>
              <a:gd name="connsiteX0" fmla="*/ 6372785 w 6372785"/>
              <a:gd name="connsiteY0" fmla="*/ 0 h 905566"/>
              <a:gd name="connsiteX1" fmla="*/ 6372785 w 6372785"/>
              <a:gd name="connsiteY1" fmla="*/ 905566 h 905566"/>
              <a:gd name="connsiteX2" fmla="*/ 0 w 6372785"/>
              <a:gd name="connsiteY2" fmla="*/ 905566 h 905566"/>
              <a:gd name="connsiteX3" fmla="*/ 905566 w 6372785"/>
              <a:gd name="connsiteY3" fmla="*/ 0 h 9055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72785" h="905566">
                <a:moveTo>
                  <a:pt x="6372785" y="0"/>
                </a:moveTo>
                <a:lnTo>
                  <a:pt x="6372785" y="905566"/>
                </a:lnTo>
                <a:lnTo>
                  <a:pt x="0" y="905566"/>
                </a:lnTo>
                <a:lnTo>
                  <a:pt x="905566" y="0"/>
                </a:lnTo>
                <a:close/>
              </a:path>
            </a:pathLst>
          </a:custGeom>
          <a:gradFill>
            <a:gsLst>
              <a:gs pos="22000">
                <a:srgbClr val="7F35AB">
                  <a:alpha val="94000"/>
                </a:srgbClr>
              </a:gs>
              <a:gs pos="95000">
                <a:schemeClr val="bg1"/>
              </a:gs>
              <a:gs pos="77000">
                <a:schemeClr val="bg1">
                  <a:alpha val="79000"/>
                </a:schemeClr>
              </a:gs>
            </a:gsLst>
            <a:lin ang="8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9620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/ Closing –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35B1C875-AD13-4256-9E56-D2FCF94B81E1}"/>
              </a:ext>
            </a:extLst>
          </p:cNvPr>
          <p:cNvGrpSpPr/>
          <p:nvPr userDrawn="1"/>
        </p:nvGrpSpPr>
        <p:grpSpPr>
          <a:xfrm>
            <a:off x="608013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E1B65455-CBDD-4B2B-8BB7-0D016422E2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AF202269-FCD9-4D84-82E7-4E6E4F5B7E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68585838-6A08-43B0-827A-D33942E82F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AAAE7B3A-0116-4C7F-85A1-4CDFE95B9B5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9CA84427-5217-43A1-9C71-25D9E1DFDD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A60ADC44-391E-4E50-A7BB-332F2C9E8B4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1DA390D7-F8F5-442A-8A17-9A9EB73BF94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C31C01D4-7C61-4B0F-8304-87A15AD01262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39F709C-1996-44DB-8C47-9CBD9243BF4E}"/>
              </a:ext>
            </a:extLst>
          </p:cNvPr>
          <p:cNvSpPr txBox="1"/>
          <p:nvPr userDrawn="1"/>
        </p:nvSpPr>
        <p:spPr>
          <a:xfrm>
            <a:off x="7122913" y="4133699"/>
            <a:ext cx="3585557" cy="69249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r" defTabSz="914126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en-US" sz="4999" b="0" kern="1200" cap="none" baseline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t>Thank You</a:t>
            </a: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811A168A-1363-4430-87C6-83E5143B39F6}"/>
              </a:ext>
            </a:extLst>
          </p:cNvPr>
          <p:cNvSpPr/>
          <p:nvPr userDrawn="1"/>
        </p:nvSpPr>
        <p:spPr>
          <a:xfrm rot="2700000">
            <a:off x="500103" y="-2250712"/>
            <a:ext cx="2891746" cy="8395793"/>
          </a:xfrm>
          <a:custGeom>
            <a:avLst/>
            <a:gdLst>
              <a:gd name="connsiteX0" fmla="*/ 0 w 2891746"/>
              <a:gd name="connsiteY0" fmla="*/ 2890035 h 8395793"/>
              <a:gd name="connsiteX1" fmla="*/ 1390389 w 2891746"/>
              <a:gd name="connsiteY1" fmla="*/ 1499646 h 8395793"/>
              <a:gd name="connsiteX2" fmla="*/ 1390389 w 2891746"/>
              <a:gd name="connsiteY2" fmla="*/ 1499646 h 8395793"/>
              <a:gd name="connsiteX3" fmla="*/ 2890036 w 2891746"/>
              <a:gd name="connsiteY3" fmla="*/ 0 h 8395793"/>
              <a:gd name="connsiteX4" fmla="*/ 2890036 w 2891746"/>
              <a:gd name="connsiteY4" fmla="*/ 8322767 h 8395793"/>
              <a:gd name="connsiteX5" fmla="*/ 2891746 w 2891746"/>
              <a:gd name="connsiteY5" fmla="*/ 8340727 h 8395793"/>
              <a:gd name="connsiteX6" fmla="*/ 2891741 w 2891746"/>
              <a:gd name="connsiteY6" fmla="*/ 8395793 h 8395793"/>
              <a:gd name="connsiteX7" fmla="*/ 2546313 w 2891746"/>
              <a:gd name="connsiteY7" fmla="*/ 8050365 h 8395793"/>
              <a:gd name="connsiteX8" fmla="*/ 2546315 w 2891746"/>
              <a:gd name="connsiteY8" fmla="*/ 8050364 h 8395793"/>
              <a:gd name="connsiteX9" fmla="*/ 0 w 2891746"/>
              <a:gd name="connsiteY9" fmla="*/ 5504049 h 83957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891746" h="8395793">
                <a:moveTo>
                  <a:pt x="0" y="2890035"/>
                </a:moveTo>
                <a:lnTo>
                  <a:pt x="1390389" y="1499646"/>
                </a:lnTo>
                <a:lnTo>
                  <a:pt x="1390389" y="1499646"/>
                </a:lnTo>
                <a:lnTo>
                  <a:pt x="2890036" y="0"/>
                </a:lnTo>
                <a:lnTo>
                  <a:pt x="2890036" y="8322767"/>
                </a:lnTo>
                <a:lnTo>
                  <a:pt x="2891746" y="8340727"/>
                </a:lnTo>
                <a:lnTo>
                  <a:pt x="2891741" y="8395793"/>
                </a:lnTo>
                <a:lnTo>
                  <a:pt x="2546313" y="8050365"/>
                </a:lnTo>
                <a:lnTo>
                  <a:pt x="2546315" y="8050364"/>
                </a:lnTo>
                <a:lnTo>
                  <a:pt x="0" y="5504049"/>
                </a:lnTo>
                <a:close/>
              </a:path>
            </a:pathLst>
          </a:custGeom>
          <a:gradFill>
            <a:gsLst>
              <a:gs pos="24000">
                <a:schemeClr val="accent3"/>
              </a:gs>
              <a:gs pos="87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2C946B50-6B2C-4792-825B-BEFD24908723}"/>
              </a:ext>
            </a:extLst>
          </p:cNvPr>
          <p:cNvSpPr/>
          <p:nvPr userDrawn="1"/>
        </p:nvSpPr>
        <p:spPr>
          <a:xfrm rot="18900000">
            <a:off x="-1253437" y="2913755"/>
            <a:ext cx="6372785" cy="905566"/>
          </a:xfrm>
          <a:custGeom>
            <a:avLst/>
            <a:gdLst>
              <a:gd name="connsiteX0" fmla="*/ 6372785 w 6372785"/>
              <a:gd name="connsiteY0" fmla="*/ 0 h 905566"/>
              <a:gd name="connsiteX1" fmla="*/ 6372785 w 6372785"/>
              <a:gd name="connsiteY1" fmla="*/ 905566 h 905566"/>
              <a:gd name="connsiteX2" fmla="*/ 0 w 6372785"/>
              <a:gd name="connsiteY2" fmla="*/ 905566 h 905566"/>
              <a:gd name="connsiteX3" fmla="*/ 905566 w 6372785"/>
              <a:gd name="connsiteY3" fmla="*/ 0 h 9055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72785" h="905566">
                <a:moveTo>
                  <a:pt x="6372785" y="0"/>
                </a:moveTo>
                <a:lnTo>
                  <a:pt x="6372785" y="905566"/>
                </a:lnTo>
                <a:lnTo>
                  <a:pt x="0" y="905566"/>
                </a:lnTo>
                <a:lnTo>
                  <a:pt x="905566" y="0"/>
                </a:lnTo>
                <a:close/>
              </a:path>
            </a:pathLst>
          </a:custGeom>
          <a:gradFill>
            <a:gsLst>
              <a:gs pos="24000">
                <a:schemeClr val="accent3"/>
              </a:gs>
              <a:gs pos="80511">
                <a:schemeClr val="bg1">
                  <a:alpha val="76000"/>
                </a:schemeClr>
              </a:gs>
              <a:gs pos="100000">
                <a:schemeClr val="bg1"/>
              </a:gs>
            </a:gsLst>
            <a:lin ang="8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2196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nt Che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EA75217-7D87-4C71-8F80-833477FCB149}"/>
              </a:ext>
            </a:extLst>
          </p:cNvPr>
          <p:cNvSpPr/>
          <p:nvPr userDrawn="1"/>
        </p:nvSpPr>
        <p:spPr bwMode="hidden">
          <a:xfrm>
            <a:off x="1" y="0"/>
            <a:ext cx="12188825" cy="68580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49AC7DF-BFC1-4044-BB52-C9946AD8A327}"/>
              </a:ext>
            </a:extLst>
          </p:cNvPr>
          <p:cNvSpPr txBox="1">
            <a:spLocks/>
          </p:cNvSpPr>
          <p:nvPr userDrawn="1"/>
        </p:nvSpPr>
        <p:spPr>
          <a:xfrm>
            <a:off x="564569" y="366687"/>
            <a:ext cx="11001004" cy="7061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4999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3C12014-9EC5-4F8C-BD3D-B60E85EC9FFD}"/>
              </a:ext>
            </a:extLst>
          </p:cNvPr>
          <p:cNvSpPr txBox="1"/>
          <p:nvPr userDrawn="1"/>
        </p:nvSpPr>
        <p:spPr>
          <a:xfrm>
            <a:off x="620896" y="3906062"/>
            <a:ext cx="10962687" cy="23807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30000"/>
              </a:lnSpc>
            </a:pPr>
            <a:r>
              <a:rPr lang="en-US" sz="1799">
                <a:solidFill>
                  <a:schemeClr val="bg1"/>
                </a:solidFill>
              </a:rPr>
              <a:t>If yes, you are good to go!</a:t>
            </a:r>
          </a:p>
          <a:p>
            <a:pPr>
              <a:lnSpc>
                <a:spcPct val="130000"/>
              </a:lnSpc>
            </a:pPr>
            <a:r>
              <a:rPr lang="en-US" sz="1799">
                <a:solidFill>
                  <a:schemeClr val="bg1"/>
                </a:solidFill>
              </a:rPr>
              <a:t>If the answer is no, you do not have the Metropolis font installed.</a:t>
            </a:r>
          </a:p>
          <a:p>
            <a:pPr>
              <a:lnSpc>
                <a:spcPct val="130000"/>
              </a:lnSpc>
            </a:pPr>
            <a:endParaRPr lang="en-US" sz="1799">
              <a:solidFill>
                <a:schemeClr val="bg1"/>
              </a:solidFill>
            </a:endParaRPr>
          </a:p>
          <a:p>
            <a:pPr marL="0" marR="0" lvl="0" indent="0" algn="l" defTabSz="91412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799">
                <a:solidFill>
                  <a:schemeClr val="bg1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lick here</a:t>
            </a:r>
            <a:r>
              <a:rPr lang="en-US" sz="1799">
                <a:solidFill>
                  <a:schemeClr val="bg1"/>
                </a:solidFill>
              </a:rPr>
              <a:t> to download the font</a:t>
            </a:r>
            <a:r>
              <a:rPr lang="en-US" sz="1799" baseline="0">
                <a:solidFill>
                  <a:schemeClr val="bg1"/>
                </a:solidFill>
              </a:rPr>
              <a:t>.</a:t>
            </a:r>
          </a:p>
          <a:p>
            <a:pPr marL="399930" marR="0" lvl="0" indent="-226945" algn="l" defTabSz="91412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sz="1799" strike="noStrike" baseline="0">
                <a:solidFill>
                  <a:schemeClr val="bg1"/>
                </a:solidFill>
              </a:rPr>
              <a:t>Log in with SSO and select the Brand Assets tab in Brand Central</a:t>
            </a:r>
          </a:p>
          <a:p>
            <a:pPr>
              <a:lnSpc>
                <a:spcPct val="130000"/>
              </a:lnSpc>
            </a:pPr>
            <a:r>
              <a:rPr lang="en-US" sz="1799">
                <a:solidFill>
                  <a:schemeClr val="bg1"/>
                </a:solidFill>
              </a:rPr>
              <a:t>Need more information on how to install fonts? </a:t>
            </a:r>
            <a:br>
              <a:rPr lang="en-US" sz="1799">
                <a:solidFill>
                  <a:schemeClr val="bg1"/>
                </a:solidFill>
              </a:rPr>
            </a:br>
            <a:r>
              <a:rPr lang="en-US" sz="1799">
                <a:solidFill>
                  <a:schemeClr val="bg1"/>
                </a:solidFill>
              </a:rPr>
              <a:t>Refer to the quick-start section in the template guidelines or contact Oasis.</a:t>
            </a:r>
          </a:p>
          <a:p>
            <a:pPr>
              <a:lnSpc>
                <a:spcPct val="130000"/>
              </a:lnSpc>
            </a:pPr>
            <a:r>
              <a:rPr lang="en-US" sz="1799">
                <a:solidFill>
                  <a:schemeClr val="bg1"/>
                </a:solidFill>
              </a:rPr>
              <a:t> </a:t>
            </a:r>
            <a:endParaRPr lang="en-US" sz="3199">
              <a:solidFill>
                <a:schemeClr val="bg1"/>
              </a:solidFill>
            </a:endParaRP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DDDC76C1-EE98-469A-A6AD-21148374D6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98114" y="2908233"/>
            <a:ext cx="5354637" cy="895350"/>
          </a:xfrm>
        </p:spPr>
        <p:txBody>
          <a:bodyPr/>
          <a:lstStyle>
            <a:lvl1pPr>
              <a:defRPr sz="4899">
                <a:solidFill>
                  <a:schemeClr val="bg1"/>
                </a:solidFill>
              </a:defRPr>
            </a:lvl1pPr>
            <a:lvl2pPr>
              <a:defRPr sz="3599">
                <a:solidFill>
                  <a:schemeClr val="bg1"/>
                </a:solidFill>
              </a:defRPr>
            </a:lvl2pPr>
            <a:lvl3pPr>
              <a:defRPr sz="3199">
                <a:solidFill>
                  <a:schemeClr val="bg1"/>
                </a:solidFill>
              </a:defRPr>
            </a:lvl3pPr>
            <a:lvl4pPr>
              <a:defRPr sz="2799">
                <a:solidFill>
                  <a:schemeClr val="bg1"/>
                </a:solidFill>
              </a:defRPr>
            </a:lvl4pPr>
            <a:lvl5pPr>
              <a:defRPr sz="27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etropolis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029BE03A-21B0-4196-A033-4E90957BA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z="2799">
                <a:solidFill>
                  <a:schemeClr val="bg1"/>
                </a:solidFill>
              </a:rPr>
              <a:t>Metropolis Font Check</a:t>
            </a:r>
          </a:p>
        </p:txBody>
      </p:sp>
      <p:sp>
        <p:nvSpPr>
          <p:cNvPr id="51" name="Subtitle 2">
            <a:extLst>
              <a:ext uri="{FF2B5EF4-FFF2-40B4-BE49-F238E27FC236}">
                <a16:creationId xmlns:a16="http://schemas.microsoft.com/office/drawing/2014/main" id="{CB049186-CC25-4BD3-8410-4DE62ED4B08B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7" y="838105"/>
            <a:ext cx="10962687" cy="247743"/>
          </a:xfr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+mn-lt"/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Is the Metropolis font installed on my computer?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51A92F24-FC82-4FA9-9362-801284731CC8}"/>
              </a:ext>
            </a:extLst>
          </p:cNvPr>
          <p:cNvSpPr/>
          <p:nvPr userDrawn="1"/>
        </p:nvSpPr>
        <p:spPr bwMode="gray">
          <a:xfrm>
            <a:off x="623364" y="1616678"/>
            <a:ext cx="4633737" cy="2441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100">
                <a:solidFill>
                  <a:schemeClr val="bg1"/>
                </a:solidFill>
              </a:rPr>
              <a:t>Do the fonts in the words below match on your screen?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B59E37DB-3217-4772-AE8E-E9673A139975}"/>
              </a:ext>
            </a:extLst>
          </p:cNvPr>
          <p:cNvCxnSpPr>
            <a:cxnSpLocks/>
          </p:cNvCxnSpPr>
          <p:nvPr userDrawn="1"/>
        </p:nvCxnSpPr>
        <p:spPr>
          <a:xfrm>
            <a:off x="623364" y="1860778"/>
            <a:ext cx="7299849" cy="0"/>
          </a:xfrm>
          <a:prstGeom prst="line">
            <a:avLst/>
          </a:prstGeom>
          <a:ln w="25400">
            <a:solidFill>
              <a:schemeClr val="bg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 Placeholder 43">
            <a:extLst>
              <a:ext uri="{FF2B5EF4-FFF2-40B4-BE49-F238E27FC236}">
                <a16:creationId xmlns:a16="http://schemas.microsoft.com/office/drawing/2014/main" id="{6C28CB3F-7257-499E-B2F6-B9B1B38D82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83683" y="2908233"/>
            <a:ext cx="5354637" cy="895350"/>
          </a:xfrm>
        </p:spPr>
        <p:txBody>
          <a:bodyPr/>
          <a:lstStyle>
            <a:lvl1pPr>
              <a:defRPr sz="4899">
                <a:solidFill>
                  <a:schemeClr val="bg1"/>
                </a:solidFill>
                <a:latin typeface="+mj-lt"/>
              </a:defRPr>
            </a:lvl1pPr>
            <a:lvl2pPr>
              <a:defRPr sz="3599">
                <a:solidFill>
                  <a:schemeClr val="bg1"/>
                </a:solidFill>
              </a:defRPr>
            </a:lvl2pPr>
            <a:lvl3pPr>
              <a:defRPr sz="3199">
                <a:solidFill>
                  <a:schemeClr val="bg1"/>
                </a:solidFill>
              </a:defRPr>
            </a:lvl3pPr>
            <a:lvl4pPr>
              <a:defRPr sz="2799">
                <a:solidFill>
                  <a:schemeClr val="bg1"/>
                </a:solidFill>
              </a:defRPr>
            </a:lvl4pPr>
            <a:lvl5pPr>
              <a:defRPr sz="27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etropolis Light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365F6992-4889-4035-986F-E69979C7B028}"/>
              </a:ext>
            </a:extLst>
          </p:cNvPr>
          <p:cNvGrpSpPr/>
          <p:nvPr userDrawn="1"/>
        </p:nvGrpSpPr>
        <p:grpSpPr>
          <a:xfrm>
            <a:off x="6054923" y="2225997"/>
            <a:ext cx="4699461" cy="542276"/>
            <a:chOff x="6685343" y="2270804"/>
            <a:chExt cx="4699461" cy="542276"/>
          </a:xfrm>
          <a:solidFill>
            <a:schemeClr val="bg1"/>
          </a:solidFill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157C5E2C-9A8F-469D-810E-FD271477DD05}"/>
                </a:ext>
              </a:extLst>
            </p:cNvPr>
            <p:cNvSpPr/>
            <p:nvPr/>
          </p:nvSpPr>
          <p:spPr>
            <a:xfrm>
              <a:off x="9320530" y="2270804"/>
              <a:ext cx="53167" cy="53167"/>
            </a:xfrm>
            <a:custGeom>
              <a:avLst/>
              <a:gdLst/>
              <a:ahLst/>
              <a:cxnLst/>
              <a:rect l="l" t="t" r="r" b="b"/>
              <a:pathLst>
                <a:path w="53167" h="53167">
                  <a:moveTo>
                    <a:pt x="26583" y="0"/>
                  </a:moveTo>
                  <a:cubicBezTo>
                    <a:pt x="34183" y="219"/>
                    <a:pt x="40467" y="2872"/>
                    <a:pt x="45439" y="7959"/>
                  </a:cubicBezTo>
                  <a:cubicBezTo>
                    <a:pt x="50411" y="13047"/>
                    <a:pt x="52987" y="19255"/>
                    <a:pt x="53167" y="26583"/>
                  </a:cubicBezTo>
                  <a:cubicBezTo>
                    <a:pt x="52987" y="34182"/>
                    <a:pt x="50411" y="40468"/>
                    <a:pt x="45439" y="45439"/>
                  </a:cubicBezTo>
                  <a:cubicBezTo>
                    <a:pt x="40467" y="50411"/>
                    <a:pt x="34183" y="52987"/>
                    <a:pt x="26583" y="53167"/>
                  </a:cubicBezTo>
                  <a:cubicBezTo>
                    <a:pt x="18985" y="52987"/>
                    <a:pt x="12699" y="50411"/>
                    <a:pt x="7727" y="45439"/>
                  </a:cubicBezTo>
                  <a:cubicBezTo>
                    <a:pt x="2756" y="40468"/>
                    <a:pt x="180" y="34182"/>
                    <a:pt x="0" y="26583"/>
                  </a:cubicBezTo>
                  <a:cubicBezTo>
                    <a:pt x="180" y="19255"/>
                    <a:pt x="2756" y="13047"/>
                    <a:pt x="7727" y="7959"/>
                  </a:cubicBezTo>
                  <a:cubicBezTo>
                    <a:pt x="12699" y="2872"/>
                    <a:pt x="18985" y="219"/>
                    <a:pt x="26583" y="0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16D8268-B556-4A2E-A24F-2098FB05E4CA}"/>
                </a:ext>
              </a:extLst>
            </p:cNvPr>
            <p:cNvSpPr/>
            <p:nvPr/>
          </p:nvSpPr>
          <p:spPr>
            <a:xfrm>
              <a:off x="10320655" y="2270804"/>
              <a:ext cx="53167" cy="53167"/>
            </a:xfrm>
            <a:custGeom>
              <a:avLst/>
              <a:gdLst/>
              <a:ahLst/>
              <a:cxnLst/>
              <a:rect l="l" t="t" r="r" b="b"/>
              <a:pathLst>
                <a:path w="53167" h="53167">
                  <a:moveTo>
                    <a:pt x="26583" y="0"/>
                  </a:moveTo>
                  <a:cubicBezTo>
                    <a:pt x="34182" y="219"/>
                    <a:pt x="40468" y="2872"/>
                    <a:pt x="45439" y="7959"/>
                  </a:cubicBezTo>
                  <a:cubicBezTo>
                    <a:pt x="50411" y="13047"/>
                    <a:pt x="52986" y="19255"/>
                    <a:pt x="53167" y="26583"/>
                  </a:cubicBezTo>
                  <a:cubicBezTo>
                    <a:pt x="52986" y="34182"/>
                    <a:pt x="50411" y="40468"/>
                    <a:pt x="45439" y="45439"/>
                  </a:cubicBezTo>
                  <a:cubicBezTo>
                    <a:pt x="40468" y="50411"/>
                    <a:pt x="34182" y="52987"/>
                    <a:pt x="26583" y="53167"/>
                  </a:cubicBezTo>
                  <a:cubicBezTo>
                    <a:pt x="18984" y="52987"/>
                    <a:pt x="12699" y="50411"/>
                    <a:pt x="7727" y="45439"/>
                  </a:cubicBezTo>
                  <a:cubicBezTo>
                    <a:pt x="2756" y="40468"/>
                    <a:pt x="180" y="34182"/>
                    <a:pt x="0" y="26583"/>
                  </a:cubicBezTo>
                  <a:cubicBezTo>
                    <a:pt x="180" y="19255"/>
                    <a:pt x="2756" y="13047"/>
                    <a:pt x="7727" y="7959"/>
                  </a:cubicBezTo>
                  <a:cubicBezTo>
                    <a:pt x="12699" y="2872"/>
                    <a:pt x="18984" y="219"/>
                    <a:pt x="26583" y="0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54C27A0-5E49-4C0A-B9A5-777E28510D88}"/>
                </a:ext>
              </a:extLst>
            </p:cNvPr>
            <p:cNvSpPr/>
            <p:nvPr/>
          </p:nvSpPr>
          <p:spPr>
            <a:xfrm>
              <a:off x="9176178" y="2273899"/>
              <a:ext cx="38309" cy="432691"/>
            </a:xfrm>
            <a:custGeom>
              <a:avLst/>
              <a:gdLst/>
              <a:ahLst/>
              <a:cxnLst/>
              <a:rect l="l" t="t" r="r" b="b"/>
              <a:pathLst>
                <a:path w="38309" h="432691">
                  <a:moveTo>
                    <a:pt x="0" y="0"/>
                  </a:moveTo>
                  <a:lnTo>
                    <a:pt x="38309" y="0"/>
                  </a:lnTo>
                  <a:lnTo>
                    <a:pt x="38309" y="432691"/>
                  </a:lnTo>
                  <a:lnTo>
                    <a:pt x="0" y="43269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B6DC2D46-24E8-497A-AE7E-3F29CF07D0E0}"/>
                </a:ext>
              </a:extLst>
            </p:cNvPr>
            <p:cNvSpPr/>
            <p:nvPr/>
          </p:nvSpPr>
          <p:spPr>
            <a:xfrm>
              <a:off x="10871628" y="2273899"/>
              <a:ext cx="263051" cy="432691"/>
            </a:xfrm>
            <a:custGeom>
              <a:avLst/>
              <a:gdLst/>
              <a:ahLst/>
              <a:cxnLst/>
              <a:rect l="l" t="t" r="r" b="b"/>
              <a:pathLst>
                <a:path w="263051" h="432691">
                  <a:moveTo>
                    <a:pt x="0" y="0"/>
                  </a:moveTo>
                  <a:lnTo>
                    <a:pt x="38309" y="0"/>
                  </a:lnTo>
                  <a:lnTo>
                    <a:pt x="38309" y="164610"/>
                  </a:lnTo>
                  <a:cubicBezTo>
                    <a:pt x="47303" y="146708"/>
                    <a:pt x="61058" y="132407"/>
                    <a:pt x="79575" y="121706"/>
                  </a:cubicBezTo>
                  <a:cubicBezTo>
                    <a:pt x="98091" y="111006"/>
                    <a:pt x="119435" y="105521"/>
                    <a:pt x="143603" y="105252"/>
                  </a:cubicBezTo>
                  <a:cubicBezTo>
                    <a:pt x="179471" y="105803"/>
                    <a:pt x="208206" y="117063"/>
                    <a:pt x="229805" y="139033"/>
                  </a:cubicBezTo>
                  <a:cubicBezTo>
                    <a:pt x="251405" y="161002"/>
                    <a:pt x="262487" y="190372"/>
                    <a:pt x="263051" y="227142"/>
                  </a:cubicBezTo>
                  <a:lnTo>
                    <a:pt x="263051" y="432691"/>
                  </a:lnTo>
                  <a:lnTo>
                    <a:pt x="224743" y="432691"/>
                  </a:lnTo>
                  <a:lnTo>
                    <a:pt x="224743" y="232095"/>
                  </a:lnTo>
                  <a:cubicBezTo>
                    <a:pt x="224343" y="204441"/>
                    <a:pt x="216316" y="182359"/>
                    <a:pt x="200663" y="165849"/>
                  </a:cubicBezTo>
                  <a:cubicBezTo>
                    <a:pt x="185011" y="149339"/>
                    <a:pt x="164133" y="140877"/>
                    <a:pt x="138029" y="140464"/>
                  </a:cubicBezTo>
                  <a:cubicBezTo>
                    <a:pt x="109215" y="141019"/>
                    <a:pt x="85549" y="149506"/>
                    <a:pt x="67032" y="165926"/>
                  </a:cubicBezTo>
                  <a:cubicBezTo>
                    <a:pt x="48515" y="182346"/>
                    <a:pt x="38941" y="203370"/>
                    <a:pt x="38309" y="228999"/>
                  </a:cubicBezTo>
                  <a:lnTo>
                    <a:pt x="38309" y="432691"/>
                  </a:lnTo>
                  <a:lnTo>
                    <a:pt x="0" y="43269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0B6A4DE9-31A3-428E-B420-424F68D79E41}"/>
                </a:ext>
              </a:extLst>
            </p:cNvPr>
            <p:cNvSpPr/>
            <p:nvPr/>
          </p:nvSpPr>
          <p:spPr>
            <a:xfrm>
              <a:off x="6685343" y="2281329"/>
              <a:ext cx="403593" cy="425261"/>
            </a:xfrm>
            <a:custGeom>
              <a:avLst/>
              <a:gdLst/>
              <a:ahLst/>
              <a:cxnLst/>
              <a:rect l="l" t="t" r="r" b="b"/>
              <a:pathLst>
                <a:path w="403593" h="425261">
                  <a:moveTo>
                    <a:pt x="0" y="0"/>
                  </a:moveTo>
                  <a:lnTo>
                    <a:pt x="39547" y="0"/>
                  </a:lnTo>
                  <a:lnTo>
                    <a:pt x="201797" y="304554"/>
                  </a:lnTo>
                  <a:lnTo>
                    <a:pt x="364046" y="0"/>
                  </a:lnTo>
                  <a:lnTo>
                    <a:pt x="403593" y="0"/>
                  </a:lnTo>
                  <a:lnTo>
                    <a:pt x="403593" y="425261"/>
                  </a:lnTo>
                  <a:lnTo>
                    <a:pt x="364046" y="425261"/>
                  </a:lnTo>
                  <a:lnTo>
                    <a:pt x="364046" y="84186"/>
                  </a:lnTo>
                  <a:lnTo>
                    <a:pt x="201797" y="388740"/>
                  </a:lnTo>
                  <a:lnTo>
                    <a:pt x="39547" y="84186"/>
                  </a:lnTo>
                  <a:lnTo>
                    <a:pt x="39547" y="425261"/>
                  </a:lnTo>
                  <a:lnTo>
                    <a:pt x="0" y="42526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9221A60B-A1D2-4D5F-ADCD-2B3BF1989BD1}"/>
                </a:ext>
              </a:extLst>
            </p:cNvPr>
            <p:cNvSpPr/>
            <p:nvPr/>
          </p:nvSpPr>
          <p:spPr>
            <a:xfrm>
              <a:off x="9980992" y="2281329"/>
              <a:ext cx="276052" cy="425261"/>
            </a:xfrm>
            <a:custGeom>
              <a:avLst/>
              <a:gdLst/>
              <a:ahLst/>
              <a:cxnLst/>
              <a:rect l="l" t="t" r="r" b="b"/>
              <a:pathLst>
                <a:path w="276052" h="425261">
                  <a:moveTo>
                    <a:pt x="0" y="0"/>
                  </a:moveTo>
                  <a:lnTo>
                    <a:pt x="39547" y="0"/>
                  </a:lnTo>
                  <a:lnTo>
                    <a:pt x="39547" y="387572"/>
                  </a:lnTo>
                  <a:lnTo>
                    <a:pt x="276052" y="387572"/>
                  </a:lnTo>
                  <a:lnTo>
                    <a:pt x="276052" y="425261"/>
                  </a:lnTo>
                  <a:lnTo>
                    <a:pt x="0" y="42526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BB738972-CA48-44E6-B7DD-E4E8B81F3D9E}"/>
                </a:ext>
              </a:extLst>
            </p:cNvPr>
            <p:cNvSpPr/>
            <p:nvPr/>
          </p:nvSpPr>
          <p:spPr>
            <a:xfrm>
              <a:off x="7532020" y="2298664"/>
              <a:ext cx="185660" cy="415356"/>
            </a:xfrm>
            <a:custGeom>
              <a:avLst/>
              <a:gdLst/>
              <a:ahLst/>
              <a:cxnLst/>
              <a:rect l="l" t="t" r="r" b="b"/>
              <a:pathLst>
                <a:path w="185660" h="415356">
                  <a:moveTo>
                    <a:pt x="52006" y="0"/>
                  </a:moveTo>
                  <a:lnTo>
                    <a:pt x="90314" y="0"/>
                  </a:lnTo>
                  <a:lnTo>
                    <a:pt x="90314" y="87916"/>
                  </a:lnTo>
                  <a:lnTo>
                    <a:pt x="170801" y="87916"/>
                  </a:lnTo>
                  <a:lnTo>
                    <a:pt x="170801" y="123129"/>
                  </a:lnTo>
                  <a:lnTo>
                    <a:pt x="90314" y="123129"/>
                  </a:lnTo>
                  <a:lnTo>
                    <a:pt x="90314" y="333695"/>
                  </a:lnTo>
                  <a:cubicBezTo>
                    <a:pt x="90598" y="347552"/>
                    <a:pt x="94365" y="358699"/>
                    <a:pt x="101613" y="367138"/>
                  </a:cubicBezTo>
                  <a:cubicBezTo>
                    <a:pt x="108862" y="375576"/>
                    <a:pt x="117891" y="379911"/>
                    <a:pt x="128700" y="380143"/>
                  </a:cubicBezTo>
                  <a:cubicBezTo>
                    <a:pt x="136207" y="380079"/>
                    <a:pt x="143172" y="378814"/>
                    <a:pt x="149596" y="376350"/>
                  </a:cubicBezTo>
                  <a:cubicBezTo>
                    <a:pt x="156019" y="373886"/>
                    <a:pt x="161436" y="370608"/>
                    <a:pt x="165848" y="366518"/>
                  </a:cubicBezTo>
                  <a:lnTo>
                    <a:pt x="185660" y="394970"/>
                  </a:lnTo>
                  <a:cubicBezTo>
                    <a:pt x="177185" y="401495"/>
                    <a:pt x="167821" y="406514"/>
                    <a:pt x="157567" y="410028"/>
                  </a:cubicBezTo>
                  <a:cubicBezTo>
                    <a:pt x="147313" y="413541"/>
                    <a:pt x="136865" y="415317"/>
                    <a:pt x="126224" y="415356"/>
                  </a:cubicBezTo>
                  <a:cubicBezTo>
                    <a:pt x="104177" y="414934"/>
                    <a:pt x="86392" y="407284"/>
                    <a:pt x="72869" y="392407"/>
                  </a:cubicBezTo>
                  <a:cubicBezTo>
                    <a:pt x="59345" y="377530"/>
                    <a:pt x="52391" y="357959"/>
                    <a:pt x="52006" y="333695"/>
                  </a:cubicBezTo>
                  <a:lnTo>
                    <a:pt x="52006" y="123129"/>
                  </a:lnTo>
                  <a:lnTo>
                    <a:pt x="0" y="123129"/>
                  </a:lnTo>
                  <a:lnTo>
                    <a:pt x="0" y="87916"/>
                  </a:lnTo>
                  <a:lnTo>
                    <a:pt x="52006" y="87916"/>
                  </a:lnTo>
                  <a:lnTo>
                    <a:pt x="52006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C0E3A6F-0249-4454-864B-04BF720A73B8}"/>
                </a:ext>
              </a:extLst>
            </p:cNvPr>
            <p:cNvSpPr/>
            <p:nvPr/>
          </p:nvSpPr>
          <p:spPr>
            <a:xfrm>
              <a:off x="11199144" y="2298664"/>
              <a:ext cx="185660" cy="415356"/>
            </a:xfrm>
            <a:custGeom>
              <a:avLst/>
              <a:gdLst/>
              <a:ahLst/>
              <a:cxnLst/>
              <a:rect l="l" t="t" r="r" b="b"/>
              <a:pathLst>
                <a:path w="185660" h="415356">
                  <a:moveTo>
                    <a:pt x="52006" y="0"/>
                  </a:moveTo>
                  <a:lnTo>
                    <a:pt x="90315" y="0"/>
                  </a:lnTo>
                  <a:lnTo>
                    <a:pt x="90315" y="87916"/>
                  </a:lnTo>
                  <a:lnTo>
                    <a:pt x="170802" y="87916"/>
                  </a:lnTo>
                  <a:lnTo>
                    <a:pt x="170802" y="123129"/>
                  </a:lnTo>
                  <a:lnTo>
                    <a:pt x="90315" y="123129"/>
                  </a:lnTo>
                  <a:lnTo>
                    <a:pt x="90315" y="333695"/>
                  </a:lnTo>
                  <a:cubicBezTo>
                    <a:pt x="90599" y="347552"/>
                    <a:pt x="94366" y="358699"/>
                    <a:pt x="101614" y="367138"/>
                  </a:cubicBezTo>
                  <a:cubicBezTo>
                    <a:pt x="108863" y="375576"/>
                    <a:pt x="117892" y="379911"/>
                    <a:pt x="128701" y="380143"/>
                  </a:cubicBezTo>
                  <a:cubicBezTo>
                    <a:pt x="136208" y="380079"/>
                    <a:pt x="143173" y="378814"/>
                    <a:pt x="149596" y="376350"/>
                  </a:cubicBezTo>
                  <a:cubicBezTo>
                    <a:pt x="156020" y="373886"/>
                    <a:pt x="161437" y="370608"/>
                    <a:pt x="165848" y="366518"/>
                  </a:cubicBezTo>
                  <a:lnTo>
                    <a:pt x="185660" y="394970"/>
                  </a:lnTo>
                  <a:cubicBezTo>
                    <a:pt x="177186" y="401495"/>
                    <a:pt x="167822" y="406514"/>
                    <a:pt x="157568" y="410028"/>
                  </a:cubicBezTo>
                  <a:cubicBezTo>
                    <a:pt x="147314" y="413541"/>
                    <a:pt x="136866" y="415317"/>
                    <a:pt x="126224" y="415356"/>
                  </a:cubicBezTo>
                  <a:cubicBezTo>
                    <a:pt x="104178" y="414934"/>
                    <a:pt x="86393" y="407284"/>
                    <a:pt x="72870" y="392407"/>
                  </a:cubicBezTo>
                  <a:cubicBezTo>
                    <a:pt x="59346" y="377530"/>
                    <a:pt x="52392" y="357959"/>
                    <a:pt x="52006" y="333695"/>
                  </a:cubicBezTo>
                  <a:lnTo>
                    <a:pt x="52006" y="123129"/>
                  </a:lnTo>
                  <a:lnTo>
                    <a:pt x="0" y="123129"/>
                  </a:lnTo>
                  <a:lnTo>
                    <a:pt x="0" y="87916"/>
                  </a:lnTo>
                  <a:lnTo>
                    <a:pt x="52006" y="87916"/>
                  </a:lnTo>
                  <a:lnTo>
                    <a:pt x="52006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BD5D52F-83DC-4C29-BFF9-C29AC76D694C}"/>
                </a:ext>
              </a:extLst>
            </p:cNvPr>
            <p:cNvSpPr/>
            <p:nvPr/>
          </p:nvSpPr>
          <p:spPr>
            <a:xfrm>
              <a:off x="7184309" y="2379151"/>
              <a:ext cx="309486" cy="334869"/>
            </a:xfrm>
            <a:custGeom>
              <a:avLst/>
              <a:gdLst/>
              <a:ahLst/>
              <a:cxnLst/>
              <a:rect l="l" t="t" r="r" b="b"/>
              <a:pathLst>
                <a:path w="309486" h="334869">
                  <a:moveTo>
                    <a:pt x="157840" y="0"/>
                  </a:moveTo>
                  <a:cubicBezTo>
                    <a:pt x="205615" y="720"/>
                    <a:pt x="242734" y="17376"/>
                    <a:pt x="269197" y="49965"/>
                  </a:cubicBezTo>
                  <a:cubicBezTo>
                    <a:pt x="295660" y="82555"/>
                    <a:pt x="309089" y="126754"/>
                    <a:pt x="309486" y="182564"/>
                  </a:cubicBezTo>
                  <a:lnTo>
                    <a:pt x="38928" y="182564"/>
                  </a:lnTo>
                  <a:cubicBezTo>
                    <a:pt x="42863" y="216445"/>
                    <a:pt x="55740" y="244247"/>
                    <a:pt x="77559" y="265969"/>
                  </a:cubicBezTo>
                  <a:cubicBezTo>
                    <a:pt x="99377" y="287692"/>
                    <a:pt x="126963" y="298921"/>
                    <a:pt x="160317" y="299656"/>
                  </a:cubicBezTo>
                  <a:cubicBezTo>
                    <a:pt x="181013" y="299488"/>
                    <a:pt x="201090" y="295797"/>
                    <a:pt x="220547" y="288582"/>
                  </a:cubicBezTo>
                  <a:cubicBezTo>
                    <a:pt x="240005" y="281367"/>
                    <a:pt x="255436" y="271635"/>
                    <a:pt x="266842" y="259387"/>
                  </a:cubicBezTo>
                  <a:lnTo>
                    <a:pt x="290950" y="285407"/>
                  </a:lnTo>
                  <a:cubicBezTo>
                    <a:pt x="276534" y="300459"/>
                    <a:pt x="257271" y="312414"/>
                    <a:pt x="233160" y="321273"/>
                  </a:cubicBezTo>
                  <a:cubicBezTo>
                    <a:pt x="209050" y="330132"/>
                    <a:pt x="184975" y="334664"/>
                    <a:pt x="160937" y="334869"/>
                  </a:cubicBezTo>
                  <a:cubicBezTo>
                    <a:pt x="132043" y="334568"/>
                    <a:pt x="105473" y="327127"/>
                    <a:pt x="81227" y="312548"/>
                  </a:cubicBezTo>
                  <a:cubicBezTo>
                    <a:pt x="56980" y="297968"/>
                    <a:pt x="37482" y="278056"/>
                    <a:pt x="22732" y="252812"/>
                  </a:cubicBezTo>
                  <a:cubicBezTo>
                    <a:pt x="7982" y="227567"/>
                    <a:pt x="405" y="198797"/>
                    <a:pt x="0" y="166502"/>
                  </a:cubicBezTo>
                  <a:cubicBezTo>
                    <a:pt x="343" y="134622"/>
                    <a:pt x="7561" y="106198"/>
                    <a:pt x="21654" y="81230"/>
                  </a:cubicBezTo>
                  <a:cubicBezTo>
                    <a:pt x="35746" y="56262"/>
                    <a:pt x="54656" y="36557"/>
                    <a:pt x="78382" y="22115"/>
                  </a:cubicBezTo>
                  <a:cubicBezTo>
                    <a:pt x="102109" y="7673"/>
                    <a:pt x="128595" y="301"/>
                    <a:pt x="157840" y="0"/>
                  </a:cubicBezTo>
                  <a:close/>
                  <a:moveTo>
                    <a:pt x="159079" y="35212"/>
                  </a:moveTo>
                  <a:cubicBezTo>
                    <a:pt x="127505" y="35742"/>
                    <a:pt x="100848" y="46145"/>
                    <a:pt x="79107" y="66423"/>
                  </a:cubicBezTo>
                  <a:cubicBezTo>
                    <a:pt x="57366" y="86700"/>
                    <a:pt x="44179" y="113676"/>
                    <a:pt x="39547" y="147351"/>
                  </a:cubicBezTo>
                  <a:lnTo>
                    <a:pt x="271796" y="147351"/>
                  </a:lnTo>
                  <a:cubicBezTo>
                    <a:pt x="268881" y="114489"/>
                    <a:pt x="257836" y="87745"/>
                    <a:pt x="238663" y="67120"/>
                  </a:cubicBezTo>
                  <a:cubicBezTo>
                    <a:pt x="219489" y="46494"/>
                    <a:pt x="192961" y="35858"/>
                    <a:pt x="159079" y="35212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8A50D27D-9134-4260-9625-A03ACB43BB75}"/>
                </a:ext>
              </a:extLst>
            </p:cNvPr>
            <p:cNvSpPr/>
            <p:nvPr/>
          </p:nvSpPr>
          <p:spPr>
            <a:xfrm>
              <a:off x="7784908" y="2379151"/>
              <a:ext cx="162134" cy="327439"/>
            </a:xfrm>
            <a:custGeom>
              <a:avLst/>
              <a:gdLst/>
              <a:ahLst/>
              <a:cxnLst/>
              <a:rect l="l" t="t" r="r" b="b"/>
              <a:pathLst>
                <a:path w="162134" h="327439">
                  <a:moveTo>
                    <a:pt x="162134" y="0"/>
                  </a:moveTo>
                  <a:lnTo>
                    <a:pt x="162134" y="35212"/>
                  </a:lnTo>
                  <a:cubicBezTo>
                    <a:pt x="125283" y="35792"/>
                    <a:pt x="95591" y="46396"/>
                    <a:pt x="73057" y="67025"/>
                  </a:cubicBezTo>
                  <a:cubicBezTo>
                    <a:pt x="50523" y="87655"/>
                    <a:pt x="38941" y="114831"/>
                    <a:pt x="38309" y="148556"/>
                  </a:cubicBezTo>
                  <a:lnTo>
                    <a:pt x="38309" y="327439"/>
                  </a:lnTo>
                  <a:lnTo>
                    <a:pt x="0" y="327439"/>
                  </a:lnTo>
                  <a:lnTo>
                    <a:pt x="0" y="7429"/>
                  </a:lnTo>
                  <a:lnTo>
                    <a:pt x="38309" y="7429"/>
                  </a:lnTo>
                  <a:lnTo>
                    <a:pt x="38309" y="74217"/>
                  </a:lnTo>
                  <a:cubicBezTo>
                    <a:pt x="47338" y="51898"/>
                    <a:pt x="62713" y="34035"/>
                    <a:pt x="84434" y="20628"/>
                  </a:cubicBezTo>
                  <a:cubicBezTo>
                    <a:pt x="106154" y="7222"/>
                    <a:pt x="132054" y="345"/>
                    <a:pt x="162134" y="0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8AD9AAAC-AEE1-41E7-98D0-8AAAA66A65F2}"/>
                </a:ext>
              </a:extLst>
            </p:cNvPr>
            <p:cNvSpPr/>
            <p:nvPr/>
          </p:nvSpPr>
          <p:spPr>
            <a:xfrm>
              <a:off x="7992696" y="2379151"/>
              <a:ext cx="330536" cy="334869"/>
            </a:xfrm>
            <a:custGeom>
              <a:avLst/>
              <a:gdLst/>
              <a:ahLst/>
              <a:cxnLst/>
              <a:rect l="l" t="t" r="r" b="b"/>
              <a:pathLst>
                <a:path w="330536" h="334869">
                  <a:moveTo>
                    <a:pt x="165267" y="0"/>
                  </a:moveTo>
                  <a:cubicBezTo>
                    <a:pt x="195773" y="366"/>
                    <a:pt x="223451" y="8019"/>
                    <a:pt x="248301" y="22960"/>
                  </a:cubicBezTo>
                  <a:cubicBezTo>
                    <a:pt x="273151" y="37901"/>
                    <a:pt x="292978" y="57935"/>
                    <a:pt x="307782" y="83060"/>
                  </a:cubicBezTo>
                  <a:cubicBezTo>
                    <a:pt x="322585" y="108185"/>
                    <a:pt x="330170" y="136207"/>
                    <a:pt x="330536" y="167125"/>
                  </a:cubicBezTo>
                  <a:cubicBezTo>
                    <a:pt x="330170" y="198051"/>
                    <a:pt x="322585" y="226126"/>
                    <a:pt x="307782" y="251351"/>
                  </a:cubicBezTo>
                  <a:cubicBezTo>
                    <a:pt x="292978" y="276575"/>
                    <a:pt x="273151" y="296708"/>
                    <a:pt x="248301" y="311748"/>
                  </a:cubicBezTo>
                  <a:cubicBezTo>
                    <a:pt x="223451" y="326788"/>
                    <a:pt x="195773" y="334495"/>
                    <a:pt x="165267" y="334869"/>
                  </a:cubicBezTo>
                  <a:cubicBezTo>
                    <a:pt x="134762" y="334495"/>
                    <a:pt x="107084" y="326788"/>
                    <a:pt x="82234" y="311748"/>
                  </a:cubicBezTo>
                  <a:cubicBezTo>
                    <a:pt x="57384" y="296708"/>
                    <a:pt x="37557" y="276575"/>
                    <a:pt x="22754" y="251351"/>
                  </a:cubicBezTo>
                  <a:cubicBezTo>
                    <a:pt x="7951" y="226126"/>
                    <a:pt x="366" y="198051"/>
                    <a:pt x="0" y="167125"/>
                  </a:cubicBezTo>
                  <a:cubicBezTo>
                    <a:pt x="366" y="136207"/>
                    <a:pt x="7951" y="108185"/>
                    <a:pt x="22754" y="83060"/>
                  </a:cubicBezTo>
                  <a:cubicBezTo>
                    <a:pt x="37557" y="57935"/>
                    <a:pt x="57384" y="37901"/>
                    <a:pt x="82234" y="22960"/>
                  </a:cubicBezTo>
                  <a:cubicBezTo>
                    <a:pt x="107084" y="8019"/>
                    <a:pt x="134762" y="366"/>
                    <a:pt x="165267" y="0"/>
                  </a:cubicBezTo>
                  <a:close/>
                  <a:moveTo>
                    <a:pt x="165267" y="35212"/>
                  </a:moveTo>
                  <a:cubicBezTo>
                    <a:pt x="129954" y="36180"/>
                    <a:pt x="100407" y="49108"/>
                    <a:pt x="76628" y="73997"/>
                  </a:cubicBezTo>
                  <a:cubicBezTo>
                    <a:pt x="52849" y="98885"/>
                    <a:pt x="40489" y="129928"/>
                    <a:pt x="39547" y="167125"/>
                  </a:cubicBezTo>
                  <a:cubicBezTo>
                    <a:pt x="40489" y="204348"/>
                    <a:pt x="52849" y="235494"/>
                    <a:pt x="76628" y="260563"/>
                  </a:cubicBezTo>
                  <a:cubicBezTo>
                    <a:pt x="100407" y="285632"/>
                    <a:pt x="129954" y="298663"/>
                    <a:pt x="165267" y="299656"/>
                  </a:cubicBezTo>
                  <a:cubicBezTo>
                    <a:pt x="200581" y="298663"/>
                    <a:pt x="230128" y="285632"/>
                    <a:pt x="253907" y="260563"/>
                  </a:cubicBezTo>
                  <a:cubicBezTo>
                    <a:pt x="277686" y="235494"/>
                    <a:pt x="290047" y="204348"/>
                    <a:pt x="290989" y="167125"/>
                  </a:cubicBezTo>
                  <a:cubicBezTo>
                    <a:pt x="290047" y="129928"/>
                    <a:pt x="277686" y="98885"/>
                    <a:pt x="253907" y="73997"/>
                  </a:cubicBezTo>
                  <a:cubicBezTo>
                    <a:pt x="230128" y="49108"/>
                    <a:pt x="200581" y="36180"/>
                    <a:pt x="165267" y="35212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05D99233-8B51-431E-B7AE-9CFD2F67C3E6}"/>
                </a:ext>
              </a:extLst>
            </p:cNvPr>
            <p:cNvSpPr/>
            <p:nvPr/>
          </p:nvSpPr>
          <p:spPr>
            <a:xfrm>
              <a:off x="8404653" y="2379151"/>
              <a:ext cx="303913" cy="433929"/>
            </a:xfrm>
            <a:custGeom>
              <a:avLst/>
              <a:gdLst/>
              <a:ahLst/>
              <a:cxnLst/>
              <a:rect l="l" t="t" r="r" b="b"/>
              <a:pathLst>
                <a:path w="303913" h="433929">
                  <a:moveTo>
                    <a:pt x="157842" y="0"/>
                  </a:moveTo>
                  <a:cubicBezTo>
                    <a:pt x="199966" y="1002"/>
                    <a:pt x="234608" y="16936"/>
                    <a:pt x="261767" y="47802"/>
                  </a:cubicBezTo>
                  <a:cubicBezTo>
                    <a:pt x="288926" y="78669"/>
                    <a:pt x="302975" y="118456"/>
                    <a:pt x="303913" y="167163"/>
                  </a:cubicBezTo>
                  <a:cubicBezTo>
                    <a:pt x="302975" y="216136"/>
                    <a:pt x="288926" y="256082"/>
                    <a:pt x="261767" y="287003"/>
                  </a:cubicBezTo>
                  <a:cubicBezTo>
                    <a:pt x="234608" y="317924"/>
                    <a:pt x="199966" y="333879"/>
                    <a:pt x="157842" y="334869"/>
                  </a:cubicBezTo>
                  <a:cubicBezTo>
                    <a:pt x="131378" y="334665"/>
                    <a:pt x="107972" y="328432"/>
                    <a:pt x="87624" y="316172"/>
                  </a:cubicBezTo>
                  <a:cubicBezTo>
                    <a:pt x="67276" y="303912"/>
                    <a:pt x="50837" y="286849"/>
                    <a:pt x="38308" y="264985"/>
                  </a:cubicBezTo>
                  <a:lnTo>
                    <a:pt x="38308" y="433929"/>
                  </a:lnTo>
                  <a:lnTo>
                    <a:pt x="0" y="433929"/>
                  </a:lnTo>
                  <a:lnTo>
                    <a:pt x="0" y="7429"/>
                  </a:lnTo>
                  <a:lnTo>
                    <a:pt x="38308" y="7429"/>
                  </a:lnTo>
                  <a:lnTo>
                    <a:pt x="38308" y="69894"/>
                  </a:lnTo>
                  <a:cubicBezTo>
                    <a:pt x="50837" y="48025"/>
                    <a:pt x="67276" y="30959"/>
                    <a:pt x="87624" y="18698"/>
                  </a:cubicBezTo>
                  <a:cubicBezTo>
                    <a:pt x="107972" y="6437"/>
                    <a:pt x="131378" y="204"/>
                    <a:pt x="157842" y="0"/>
                  </a:cubicBezTo>
                  <a:close/>
                  <a:moveTo>
                    <a:pt x="150410" y="35212"/>
                  </a:moveTo>
                  <a:cubicBezTo>
                    <a:pt x="117017" y="35870"/>
                    <a:pt x="90127" y="48179"/>
                    <a:pt x="69740" y="72139"/>
                  </a:cubicBezTo>
                  <a:cubicBezTo>
                    <a:pt x="49354" y="96098"/>
                    <a:pt x="38876" y="127760"/>
                    <a:pt x="38308" y="167125"/>
                  </a:cubicBezTo>
                  <a:cubicBezTo>
                    <a:pt x="38876" y="206515"/>
                    <a:pt x="49354" y="238281"/>
                    <a:pt x="69740" y="262421"/>
                  </a:cubicBezTo>
                  <a:cubicBezTo>
                    <a:pt x="90127" y="286561"/>
                    <a:pt x="117017" y="298972"/>
                    <a:pt x="150410" y="299656"/>
                  </a:cubicBezTo>
                  <a:cubicBezTo>
                    <a:pt x="183312" y="298856"/>
                    <a:pt x="210253" y="286212"/>
                    <a:pt x="231233" y="261724"/>
                  </a:cubicBezTo>
                  <a:cubicBezTo>
                    <a:pt x="252213" y="237235"/>
                    <a:pt x="263051" y="205703"/>
                    <a:pt x="263747" y="167125"/>
                  </a:cubicBezTo>
                  <a:cubicBezTo>
                    <a:pt x="263051" y="128573"/>
                    <a:pt x="252213" y="97143"/>
                    <a:pt x="231233" y="72836"/>
                  </a:cubicBezTo>
                  <a:cubicBezTo>
                    <a:pt x="210253" y="48528"/>
                    <a:pt x="183312" y="35987"/>
                    <a:pt x="150410" y="35212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99B1F118-34ED-4FB8-A180-737A1399C241}"/>
                </a:ext>
              </a:extLst>
            </p:cNvPr>
            <p:cNvSpPr/>
            <p:nvPr/>
          </p:nvSpPr>
          <p:spPr>
            <a:xfrm>
              <a:off x="8764222" y="2379151"/>
              <a:ext cx="330535" cy="334869"/>
            </a:xfrm>
            <a:custGeom>
              <a:avLst/>
              <a:gdLst/>
              <a:ahLst/>
              <a:cxnLst/>
              <a:rect l="l" t="t" r="r" b="b"/>
              <a:pathLst>
                <a:path w="330535" h="334869">
                  <a:moveTo>
                    <a:pt x="165267" y="0"/>
                  </a:moveTo>
                  <a:cubicBezTo>
                    <a:pt x="195773" y="366"/>
                    <a:pt x="223451" y="8019"/>
                    <a:pt x="248301" y="22960"/>
                  </a:cubicBezTo>
                  <a:cubicBezTo>
                    <a:pt x="273151" y="37901"/>
                    <a:pt x="292978" y="57935"/>
                    <a:pt x="307781" y="83060"/>
                  </a:cubicBezTo>
                  <a:cubicBezTo>
                    <a:pt x="322585" y="108185"/>
                    <a:pt x="330169" y="136207"/>
                    <a:pt x="330535" y="167125"/>
                  </a:cubicBezTo>
                  <a:cubicBezTo>
                    <a:pt x="330169" y="198051"/>
                    <a:pt x="322585" y="226126"/>
                    <a:pt x="307781" y="251351"/>
                  </a:cubicBezTo>
                  <a:cubicBezTo>
                    <a:pt x="292978" y="276575"/>
                    <a:pt x="273151" y="296708"/>
                    <a:pt x="248301" y="311748"/>
                  </a:cubicBezTo>
                  <a:cubicBezTo>
                    <a:pt x="223451" y="326788"/>
                    <a:pt x="195773" y="334495"/>
                    <a:pt x="165267" y="334869"/>
                  </a:cubicBezTo>
                  <a:cubicBezTo>
                    <a:pt x="134761" y="334495"/>
                    <a:pt x="107083" y="326788"/>
                    <a:pt x="82234" y="311748"/>
                  </a:cubicBezTo>
                  <a:cubicBezTo>
                    <a:pt x="57383" y="296708"/>
                    <a:pt x="37557" y="276575"/>
                    <a:pt x="22754" y="251351"/>
                  </a:cubicBezTo>
                  <a:cubicBezTo>
                    <a:pt x="7951" y="226126"/>
                    <a:pt x="366" y="198051"/>
                    <a:pt x="0" y="167125"/>
                  </a:cubicBezTo>
                  <a:cubicBezTo>
                    <a:pt x="366" y="136207"/>
                    <a:pt x="7951" y="108185"/>
                    <a:pt x="22754" y="83060"/>
                  </a:cubicBezTo>
                  <a:cubicBezTo>
                    <a:pt x="37557" y="57935"/>
                    <a:pt x="57383" y="37901"/>
                    <a:pt x="82234" y="22960"/>
                  </a:cubicBezTo>
                  <a:cubicBezTo>
                    <a:pt x="107083" y="8019"/>
                    <a:pt x="134761" y="366"/>
                    <a:pt x="165267" y="0"/>
                  </a:cubicBezTo>
                  <a:close/>
                  <a:moveTo>
                    <a:pt x="165267" y="35212"/>
                  </a:moveTo>
                  <a:cubicBezTo>
                    <a:pt x="129954" y="36180"/>
                    <a:pt x="100407" y="49108"/>
                    <a:pt x="76628" y="73997"/>
                  </a:cubicBezTo>
                  <a:cubicBezTo>
                    <a:pt x="52849" y="98885"/>
                    <a:pt x="40489" y="129928"/>
                    <a:pt x="39547" y="167125"/>
                  </a:cubicBezTo>
                  <a:cubicBezTo>
                    <a:pt x="40489" y="204348"/>
                    <a:pt x="52849" y="235494"/>
                    <a:pt x="76628" y="260563"/>
                  </a:cubicBezTo>
                  <a:cubicBezTo>
                    <a:pt x="100407" y="285632"/>
                    <a:pt x="129954" y="298663"/>
                    <a:pt x="165267" y="299656"/>
                  </a:cubicBezTo>
                  <a:cubicBezTo>
                    <a:pt x="200581" y="298663"/>
                    <a:pt x="230128" y="285632"/>
                    <a:pt x="253907" y="260563"/>
                  </a:cubicBezTo>
                  <a:cubicBezTo>
                    <a:pt x="277686" y="235494"/>
                    <a:pt x="290047" y="204348"/>
                    <a:pt x="290989" y="167125"/>
                  </a:cubicBezTo>
                  <a:cubicBezTo>
                    <a:pt x="290047" y="129928"/>
                    <a:pt x="277686" y="98885"/>
                    <a:pt x="253907" y="73997"/>
                  </a:cubicBezTo>
                  <a:cubicBezTo>
                    <a:pt x="230128" y="49108"/>
                    <a:pt x="200581" y="36180"/>
                    <a:pt x="165267" y="35212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99817CB1-DAD9-42CD-BEDA-3ADB122B8709}"/>
                </a:ext>
              </a:extLst>
            </p:cNvPr>
            <p:cNvSpPr/>
            <p:nvPr/>
          </p:nvSpPr>
          <p:spPr>
            <a:xfrm>
              <a:off x="9443830" y="2379151"/>
              <a:ext cx="247572" cy="334869"/>
            </a:xfrm>
            <a:custGeom>
              <a:avLst/>
              <a:gdLst/>
              <a:ahLst/>
              <a:cxnLst/>
              <a:rect l="l" t="t" r="r" b="b"/>
              <a:pathLst>
                <a:path w="247572" h="334869">
                  <a:moveTo>
                    <a:pt x="127498" y="0"/>
                  </a:moveTo>
                  <a:cubicBezTo>
                    <a:pt x="147218" y="103"/>
                    <a:pt x="166934" y="3295"/>
                    <a:pt x="186644" y="9575"/>
                  </a:cubicBezTo>
                  <a:cubicBezTo>
                    <a:pt x="206354" y="15856"/>
                    <a:pt x="224810" y="24609"/>
                    <a:pt x="242012" y="35833"/>
                  </a:cubicBezTo>
                  <a:lnTo>
                    <a:pt x="222857" y="65559"/>
                  </a:lnTo>
                  <a:cubicBezTo>
                    <a:pt x="206974" y="55624"/>
                    <a:pt x="190931" y="48089"/>
                    <a:pt x="174726" y="42954"/>
                  </a:cubicBezTo>
                  <a:cubicBezTo>
                    <a:pt x="158521" y="37819"/>
                    <a:pt x="142778" y="35238"/>
                    <a:pt x="127498" y="35212"/>
                  </a:cubicBezTo>
                  <a:cubicBezTo>
                    <a:pt x="107457" y="35367"/>
                    <a:pt x="90706" y="39857"/>
                    <a:pt x="77246" y="48683"/>
                  </a:cubicBezTo>
                  <a:cubicBezTo>
                    <a:pt x="63786" y="57508"/>
                    <a:pt x="56792" y="69739"/>
                    <a:pt x="56263" y="85377"/>
                  </a:cubicBezTo>
                  <a:cubicBezTo>
                    <a:pt x="56004" y="99440"/>
                    <a:pt x="62715" y="110949"/>
                    <a:pt x="76394" y="119903"/>
                  </a:cubicBezTo>
                  <a:cubicBezTo>
                    <a:pt x="90074" y="128857"/>
                    <a:pt x="112270" y="138198"/>
                    <a:pt x="142984" y="147927"/>
                  </a:cubicBezTo>
                  <a:cubicBezTo>
                    <a:pt x="173358" y="156519"/>
                    <a:pt x="198222" y="167667"/>
                    <a:pt x="217578" y="181369"/>
                  </a:cubicBezTo>
                  <a:cubicBezTo>
                    <a:pt x="236933" y="195071"/>
                    <a:pt x="246931" y="215508"/>
                    <a:pt x="247572" y="242680"/>
                  </a:cubicBezTo>
                  <a:cubicBezTo>
                    <a:pt x="246802" y="270365"/>
                    <a:pt x="235668" y="292542"/>
                    <a:pt x="214171" y="309212"/>
                  </a:cubicBezTo>
                  <a:cubicBezTo>
                    <a:pt x="192674" y="325881"/>
                    <a:pt x="165434" y="334434"/>
                    <a:pt x="132453" y="334869"/>
                  </a:cubicBezTo>
                  <a:cubicBezTo>
                    <a:pt x="109819" y="334780"/>
                    <a:pt x="86962" y="330634"/>
                    <a:pt x="63881" y="322433"/>
                  </a:cubicBezTo>
                  <a:cubicBezTo>
                    <a:pt x="40800" y="314231"/>
                    <a:pt x="19507" y="302510"/>
                    <a:pt x="0" y="287270"/>
                  </a:cubicBezTo>
                  <a:lnTo>
                    <a:pt x="21044" y="258782"/>
                  </a:lnTo>
                  <a:cubicBezTo>
                    <a:pt x="39390" y="272136"/>
                    <a:pt x="58025" y="282277"/>
                    <a:pt x="76948" y="289205"/>
                  </a:cubicBezTo>
                  <a:cubicBezTo>
                    <a:pt x="95870" y="296134"/>
                    <a:pt x="114372" y="299618"/>
                    <a:pt x="132453" y="299656"/>
                  </a:cubicBezTo>
                  <a:cubicBezTo>
                    <a:pt x="155166" y="299372"/>
                    <a:pt x="173543" y="294366"/>
                    <a:pt x="187584" y="284638"/>
                  </a:cubicBezTo>
                  <a:cubicBezTo>
                    <a:pt x="201624" y="274910"/>
                    <a:pt x="208851" y="262162"/>
                    <a:pt x="209264" y="246396"/>
                  </a:cubicBezTo>
                  <a:cubicBezTo>
                    <a:pt x="208942" y="229481"/>
                    <a:pt x="201224" y="216244"/>
                    <a:pt x="186112" y="206683"/>
                  </a:cubicBezTo>
                  <a:cubicBezTo>
                    <a:pt x="171000" y="197123"/>
                    <a:pt x="150430" y="188685"/>
                    <a:pt x="124401" y="181369"/>
                  </a:cubicBezTo>
                  <a:cubicBezTo>
                    <a:pt x="86371" y="170622"/>
                    <a:pt x="59031" y="158210"/>
                    <a:pt x="42382" y="144133"/>
                  </a:cubicBezTo>
                  <a:cubicBezTo>
                    <a:pt x="25733" y="130057"/>
                    <a:pt x="17590" y="111917"/>
                    <a:pt x="17954" y="89712"/>
                  </a:cubicBezTo>
                  <a:cubicBezTo>
                    <a:pt x="18686" y="62673"/>
                    <a:pt x="29278" y="41063"/>
                    <a:pt x="49729" y="24883"/>
                  </a:cubicBezTo>
                  <a:cubicBezTo>
                    <a:pt x="70181" y="8703"/>
                    <a:pt x="96104" y="409"/>
                    <a:pt x="127498" y="0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8965CEB0-3B0E-4C5D-82CE-B28C6B20C2B1}"/>
                </a:ext>
              </a:extLst>
            </p:cNvPr>
            <p:cNvSpPr/>
            <p:nvPr/>
          </p:nvSpPr>
          <p:spPr>
            <a:xfrm>
              <a:off x="10449527" y="2379151"/>
              <a:ext cx="305770" cy="433929"/>
            </a:xfrm>
            <a:custGeom>
              <a:avLst/>
              <a:gdLst/>
              <a:ahLst/>
              <a:cxnLst/>
              <a:rect l="l" t="t" r="r" b="b"/>
              <a:pathLst>
                <a:path w="305770" h="433929">
                  <a:moveTo>
                    <a:pt x="144833" y="0"/>
                  </a:moveTo>
                  <a:cubicBezTo>
                    <a:pt x="172238" y="138"/>
                    <a:pt x="196392" y="6193"/>
                    <a:pt x="217295" y="18166"/>
                  </a:cubicBezTo>
                  <a:cubicBezTo>
                    <a:pt x="238197" y="30138"/>
                    <a:pt x="254920" y="47197"/>
                    <a:pt x="267462" y="69342"/>
                  </a:cubicBezTo>
                  <a:lnTo>
                    <a:pt x="267462" y="7429"/>
                  </a:lnTo>
                  <a:lnTo>
                    <a:pt x="305770" y="7429"/>
                  </a:lnTo>
                  <a:lnTo>
                    <a:pt x="305770" y="293411"/>
                  </a:lnTo>
                  <a:cubicBezTo>
                    <a:pt x="304987" y="335306"/>
                    <a:pt x="290628" y="369024"/>
                    <a:pt x="262693" y="394562"/>
                  </a:cubicBezTo>
                  <a:cubicBezTo>
                    <a:pt x="234759" y="420100"/>
                    <a:pt x="197950" y="433223"/>
                    <a:pt x="152265" y="433929"/>
                  </a:cubicBezTo>
                  <a:cubicBezTo>
                    <a:pt x="126743" y="433698"/>
                    <a:pt x="102539" y="429681"/>
                    <a:pt x="79653" y="421880"/>
                  </a:cubicBezTo>
                  <a:cubicBezTo>
                    <a:pt x="56767" y="414078"/>
                    <a:pt x="37837" y="403878"/>
                    <a:pt x="22863" y="391281"/>
                  </a:cubicBezTo>
                  <a:lnTo>
                    <a:pt x="40165" y="360299"/>
                  </a:lnTo>
                  <a:cubicBezTo>
                    <a:pt x="53533" y="372201"/>
                    <a:pt x="69687" y="381547"/>
                    <a:pt x="88629" y="388337"/>
                  </a:cubicBezTo>
                  <a:cubicBezTo>
                    <a:pt x="107569" y="395128"/>
                    <a:pt x="127130" y="398587"/>
                    <a:pt x="147310" y="398716"/>
                  </a:cubicBezTo>
                  <a:cubicBezTo>
                    <a:pt x="184561" y="398393"/>
                    <a:pt x="213799" y="388971"/>
                    <a:pt x="235023" y="370449"/>
                  </a:cubicBezTo>
                  <a:cubicBezTo>
                    <a:pt x="256249" y="351928"/>
                    <a:pt x="267062" y="326249"/>
                    <a:pt x="267462" y="293411"/>
                  </a:cubicBezTo>
                  <a:lnTo>
                    <a:pt x="267462" y="234017"/>
                  </a:lnTo>
                  <a:cubicBezTo>
                    <a:pt x="254843" y="256428"/>
                    <a:pt x="237965" y="273648"/>
                    <a:pt x="216830" y="285678"/>
                  </a:cubicBezTo>
                  <a:cubicBezTo>
                    <a:pt x="195696" y="297707"/>
                    <a:pt x="171696" y="303786"/>
                    <a:pt x="144833" y="303913"/>
                  </a:cubicBezTo>
                  <a:cubicBezTo>
                    <a:pt x="102761" y="303026"/>
                    <a:pt x="68325" y="288564"/>
                    <a:pt x="41527" y="260527"/>
                  </a:cubicBezTo>
                  <a:cubicBezTo>
                    <a:pt x="14729" y="232489"/>
                    <a:pt x="886" y="196196"/>
                    <a:pt x="0" y="151646"/>
                  </a:cubicBezTo>
                  <a:cubicBezTo>
                    <a:pt x="886" y="107393"/>
                    <a:pt x="14729" y="71281"/>
                    <a:pt x="41527" y="43308"/>
                  </a:cubicBezTo>
                  <a:cubicBezTo>
                    <a:pt x="68325" y="15335"/>
                    <a:pt x="102761" y="899"/>
                    <a:pt x="144833" y="0"/>
                  </a:cubicBezTo>
                  <a:close/>
                  <a:moveTo>
                    <a:pt x="152265" y="35212"/>
                  </a:moveTo>
                  <a:cubicBezTo>
                    <a:pt x="119685" y="35921"/>
                    <a:pt x="93028" y="47045"/>
                    <a:pt x="72294" y="68583"/>
                  </a:cubicBezTo>
                  <a:cubicBezTo>
                    <a:pt x="51559" y="90122"/>
                    <a:pt x="40849" y="117823"/>
                    <a:pt x="40165" y="151685"/>
                  </a:cubicBezTo>
                  <a:cubicBezTo>
                    <a:pt x="40849" y="185815"/>
                    <a:pt x="51559" y="213675"/>
                    <a:pt x="72294" y="235267"/>
                  </a:cubicBezTo>
                  <a:cubicBezTo>
                    <a:pt x="93028" y="256859"/>
                    <a:pt x="119685" y="268003"/>
                    <a:pt x="152265" y="268700"/>
                  </a:cubicBezTo>
                  <a:cubicBezTo>
                    <a:pt x="186057" y="268120"/>
                    <a:pt x="213540" y="257207"/>
                    <a:pt x="234714" y="235959"/>
                  </a:cubicBezTo>
                  <a:cubicBezTo>
                    <a:pt x="255888" y="214711"/>
                    <a:pt x="266804" y="186607"/>
                    <a:pt x="267462" y="151646"/>
                  </a:cubicBezTo>
                  <a:cubicBezTo>
                    <a:pt x="266804" y="116989"/>
                    <a:pt x="255888" y="89068"/>
                    <a:pt x="234714" y="67882"/>
                  </a:cubicBezTo>
                  <a:cubicBezTo>
                    <a:pt x="213540" y="46696"/>
                    <a:pt x="186057" y="35806"/>
                    <a:pt x="152265" y="35212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2C78B23A-632F-4FF2-B1DB-D62779A331A5}"/>
                </a:ext>
              </a:extLst>
            </p:cNvPr>
            <p:cNvSpPr/>
            <p:nvPr/>
          </p:nvSpPr>
          <p:spPr>
            <a:xfrm>
              <a:off x="9327958" y="2386580"/>
              <a:ext cx="38308" cy="320010"/>
            </a:xfrm>
            <a:custGeom>
              <a:avLst/>
              <a:gdLst/>
              <a:ahLst/>
              <a:cxnLst/>
              <a:rect l="l" t="t" r="r" b="b"/>
              <a:pathLst>
                <a:path w="38308" h="320010">
                  <a:moveTo>
                    <a:pt x="0" y="0"/>
                  </a:moveTo>
                  <a:lnTo>
                    <a:pt x="38308" y="0"/>
                  </a:lnTo>
                  <a:lnTo>
                    <a:pt x="38308" y="320010"/>
                  </a:lnTo>
                  <a:lnTo>
                    <a:pt x="0" y="32001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624329D5-649B-4928-85CD-14362B04489C}"/>
                </a:ext>
              </a:extLst>
            </p:cNvPr>
            <p:cNvSpPr/>
            <p:nvPr/>
          </p:nvSpPr>
          <p:spPr>
            <a:xfrm>
              <a:off x="10328084" y="2386580"/>
              <a:ext cx="38309" cy="320010"/>
            </a:xfrm>
            <a:custGeom>
              <a:avLst/>
              <a:gdLst/>
              <a:ahLst/>
              <a:cxnLst/>
              <a:rect l="l" t="t" r="r" b="b"/>
              <a:pathLst>
                <a:path w="38309" h="320010">
                  <a:moveTo>
                    <a:pt x="0" y="0"/>
                  </a:moveTo>
                  <a:lnTo>
                    <a:pt x="38309" y="0"/>
                  </a:lnTo>
                  <a:lnTo>
                    <a:pt x="38309" y="320010"/>
                  </a:lnTo>
                  <a:lnTo>
                    <a:pt x="0" y="32001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164E83D4-30F6-4C59-8FFA-AD2FC2966221}"/>
              </a:ext>
            </a:extLst>
          </p:cNvPr>
          <p:cNvGrpSpPr/>
          <p:nvPr userDrawn="1"/>
        </p:nvGrpSpPr>
        <p:grpSpPr>
          <a:xfrm>
            <a:off x="672459" y="2225997"/>
            <a:ext cx="3021853" cy="546070"/>
            <a:chOff x="2656324" y="2163854"/>
            <a:chExt cx="3021853" cy="546070"/>
          </a:xfrm>
        </p:grpSpPr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F3051B0B-E539-41DA-BF1C-88B850B08AC1}"/>
                </a:ext>
              </a:extLst>
            </p:cNvPr>
            <p:cNvSpPr txBox="1">
              <a:spLocks/>
            </p:cNvSpPr>
            <p:nvPr/>
          </p:nvSpPr>
          <p:spPr>
            <a:xfrm>
              <a:off x="5302274" y="2163854"/>
              <a:ext cx="61293" cy="61294"/>
            </a:xfrm>
            <a:custGeom>
              <a:avLst/>
              <a:gdLst/>
              <a:ahLst/>
              <a:cxnLst/>
              <a:rect l="l" t="t" r="r" b="b"/>
              <a:pathLst>
                <a:path w="61293" h="61294">
                  <a:moveTo>
                    <a:pt x="30956" y="0"/>
                  </a:moveTo>
                  <a:cubicBezTo>
                    <a:pt x="39211" y="0"/>
                    <a:pt x="46331" y="2993"/>
                    <a:pt x="52316" y="8978"/>
                  </a:cubicBezTo>
                  <a:cubicBezTo>
                    <a:pt x="58301" y="14963"/>
                    <a:pt x="61293" y="22083"/>
                    <a:pt x="61293" y="30338"/>
                  </a:cubicBezTo>
                  <a:cubicBezTo>
                    <a:pt x="61293" y="38592"/>
                    <a:pt x="58301" y="45816"/>
                    <a:pt x="52316" y="52007"/>
                  </a:cubicBezTo>
                  <a:cubicBezTo>
                    <a:pt x="46331" y="58198"/>
                    <a:pt x="39211" y="61294"/>
                    <a:pt x="30956" y="61294"/>
                  </a:cubicBezTo>
                  <a:cubicBezTo>
                    <a:pt x="22288" y="61294"/>
                    <a:pt x="14962" y="58198"/>
                    <a:pt x="8977" y="52007"/>
                  </a:cubicBezTo>
                  <a:cubicBezTo>
                    <a:pt x="2992" y="45816"/>
                    <a:pt x="0" y="38592"/>
                    <a:pt x="0" y="30338"/>
                  </a:cubicBezTo>
                  <a:cubicBezTo>
                    <a:pt x="0" y="22083"/>
                    <a:pt x="2992" y="14963"/>
                    <a:pt x="8977" y="8978"/>
                  </a:cubicBezTo>
                  <a:cubicBezTo>
                    <a:pt x="14962" y="2993"/>
                    <a:pt x="22288" y="0"/>
                    <a:pt x="30956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4899"/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E869A88A-B6ED-41AF-A29B-C30FFF486BB6}"/>
                </a:ext>
              </a:extLst>
            </p:cNvPr>
            <p:cNvSpPr txBox="1">
              <a:spLocks/>
            </p:cNvSpPr>
            <p:nvPr/>
          </p:nvSpPr>
          <p:spPr>
            <a:xfrm>
              <a:off x="5157303" y="2170665"/>
              <a:ext cx="46434" cy="432768"/>
            </a:xfrm>
            <a:custGeom>
              <a:avLst/>
              <a:gdLst/>
              <a:ahLst/>
              <a:cxnLst/>
              <a:rect l="l" t="t" r="r" b="b"/>
              <a:pathLst>
                <a:path w="46434" h="432768">
                  <a:moveTo>
                    <a:pt x="0" y="0"/>
                  </a:moveTo>
                  <a:lnTo>
                    <a:pt x="46434" y="0"/>
                  </a:lnTo>
                  <a:lnTo>
                    <a:pt x="46434" y="432768"/>
                  </a:lnTo>
                  <a:lnTo>
                    <a:pt x="0" y="43276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4899"/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2801540C-5A6C-4A54-B0C6-6C0846EC4390}"/>
                </a:ext>
              </a:extLst>
            </p:cNvPr>
            <p:cNvSpPr txBox="1">
              <a:spLocks/>
            </p:cNvSpPr>
            <p:nvPr/>
          </p:nvSpPr>
          <p:spPr>
            <a:xfrm>
              <a:off x="2656324" y="2178095"/>
              <a:ext cx="412337" cy="425339"/>
            </a:xfrm>
            <a:custGeom>
              <a:avLst/>
              <a:gdLst/>
              <a:ahLst/>
              <a:cxnLst/>
              <a:rect l="l" t="t" r="r" b="b"/>
              <a:pathLst>
                <a:path w="412337" h="425339">
                  <a:moveTo>
                    <a:pt x="0" y="0"/>
                  </a:moveTo>
                  <a:lnTo>
                    <a:pt x="48291" y="0"/>
                  </a:lnTo>
                  <a:lnTo>
                    <a:pt x="206168" y="296561"/>
                  </a:lnTo>
                  <a:lnTo>
                    <a:pt x="364045" y="0"/>
                  </a:lnTo>
                  <a:lnTo>
                    <a:pt x="412337" y="0"/>
                  </a:lnTo>
                  <a:lnTo>
                    <a:pt x="412337" y="425339"/>
                  </a:lnTo>
                  <a:lnTo>
                    <a:pt x="364045" y="425339"/>
                  </a:lnTo>
                  <a:lnTo>
                    <a:pt x="364045" y="104013"/>
                  </a:lnTo>
                  <a:lnTo>
                    <a:pt x="206168" y="400574"/>
                  </a:lnTo>
                  <a:lnTo>
                    <a:pt x="48291" y="104013"/>
                  </a:lnTo>
                  <a:lnTo>
                    <a:pt x="48291" y="425339"/>
                  </a:lnTo>
                  <a:lnTo>
                    <a:pt x="0" y="4253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4899"/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B91D5C56-2A21-48F7-9A01-6B21056777FC}"/>
                </a:ext>
              </a:extLst>
            </p:cNvPr>
            <p:cNvSpPr txBox="1">
              <a:spLocks/>
            </p:cNvSpPr>
            <p:nvPr/>
          </p:nvSpPr>
          <p:spPr>
            <a:xfrm>
              <a:off x="3506716" y="2195431"/>
              <a:ext cx="187595" cy="415433"/>
            </a:xfrm>
            <a:custGeom>
              <a:avLst/>
              <a:gdLst/>
              <a:ahLst/>
              <a:cxnLst/>
              <a:rect l="l" t="t" r="r" b="b"/>
              <a:pathLst>
                <a:path w="187595" h="415433">
                  <a:moveTo>
                    <a:pt x="50149" y="0"/>
                  </a:moveTo>
                  <a:lnTo>
                    <a:pt x="96583" y="0"/>
                  </a:lnTo>
                  <a:lnTo>
                    <a:pt x="96583" y="87916"/>
                  </a:lnTo>
                  <a:lnTo>
                    <a:pt x="175212" y="87916"/>
                  </a:lnTo>
                  <a:lnTo>
                    <a:pt x="175212" y="129397"/>
                  </a:lnTo>
                  <a:lnTo>
                    <a:pt x="96583" y="129397"/>
                  </a:lnTo>
                  <a:lnTo>
                    <a:pt x="96583" y="333708"/>
                  </a:lnTo>
                  <a:cubicBezTo>
                    <a:pt x="96583" y="345265"/>
                    <a:pt x="99988" y="354862"/>
                    <a:pt x="106799" y="362497"/>
                  </a:cubicBezTo>
                  <a:cubicBezTo>
                    <a:pt x="113609" y="370133"/>
                    <a:pt x="121761" y="373951"/>
                    <a:pt x="131254" y="373951"/>
                  </a:cubicBezTo>
                  <a:cubicBezTo>
                    <a:pt x="138271" y="373951"/>
                    <a:pt x="144669" y="372713"/>
                    <a:pt x="150447" y="370237"/>
                  </a:cubicBezTo>
                  <a:cubicBezTo>
                    <a:pt x="156226" y="367760"/>
                    <a:pt x="160972" y="364664"/>
                    <a:pt x="164687" y="360950"/>
                  </a:cubicBezTo>
                  <a:lnTo>
                    <a:pt x="187595" y="395002"/>
                  </a:lnTo>
                  <a:cubicBezTo>
                    <a:pt x="170259" y="408622"/>
                    <a:pt x="150447" y="415433"/>
                    <a:pt x="128158" y="415433"/>
                  </a:cubicBezTo>
                  <a:cubicBezTo>
                    <a:pt x="105457" y="415433"/>
                    <a:pt x="86780" y="407797"/>
                    <a:pt x="72128" y="392525"/>
                  </a:cubicBezTo>
                  <a:cubicBezTo>
                    <a:pt x="57475" y="377253"/>
                    <a:pt x="50149" y="357648"/>
                    <a:pt x="50149" y="333708"/>
                  </a:cubicBezTo>
                  <a:lnTo>
                    <a:pt x="50149" y="129397"/>
                  </a:lnTo>
                  <a:lnTo>
                    <a:pt x="0" y="129397"/>
                  </a:lnTo>
                  <a:lnTo>
                    <a:pt x="0" y="87916"/>
                  </a:lnTo>
                  <a:lnTo>
                    <a:pt x="50149" y="87916"/>
                  </a:lnTo>
                  <a:lnTo>
                    <a:pt x="50149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4899"/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938751F7-5AB7-4F81-9DD2-C1AE3EE50FDD}"/>
                </a:ext>
              </a:extLst>
            </p:cNvPr>
            <p:cNvSpPr txBox="1">
              <a:spLocks/>
            </p:cNvSpPr>
            <p:nvPr/>
          </p:nvSpPr>
          <p:spPr>
            <a:xfrm>
              <a:off x="3159005" y="2275917"/>
              <a:ext cx="309563" cy="334947"/>
            </a:xfrm>
            <a:custGeom>
              <a:avLst/>
              <a:gdLst/>
              <a:ahLst/>
              <a:cxnLst/>
              <a:rect l="l" t="t" r="r" b="b"/>
              <a:pathLst>
                <a:path w="309563" h="334947">
                  <a:moveTo>
                    <a:pt x="157877" y="0"/>
                  </a:moveTo>
                  <a:cubicBezTo>
                    <a:pt x="205757" y="0"/>
                    <a:pt x="243007" y="16716"/>
                    <a:pt x="269629" y="50149"/>
                  </a:cubicBezTo>
                  <a:cubicBezTo>
                    <a:pt x="296252" y="83582"/>
                    <a:pt x="309563" y="128572"/>
                    <a:pt x="309563" y="185118"/>
                  </a:cubicBezTo>
                  <a:lnTo>
                    <a:pt x="47673" y="185118"/>
                  </a:lnTo>
                  <a:cubicBezTo>
                    <a:pt x="50975" y="216900"/>
                    <a:pt x="63048" y="242903"/>
                    <a:pt x="83892" y="263128"/>
                  </a:cubicBezTo>
                  <a:cubicBezTo>
                    <a:pt x="104736" y="283353"/>
                    <a:pt x="130636" y="293465"/>
                    <a:pt x="161592" y="293465"/>
                  </a:cubicBezTo>
                  <a:cubicBezTo>
                    <a:pt x="180579" y="293465"/>
                    <a:pt x="199669" y="289751"/>
                    <a:pt x="218861" y="282321"/>
                  </a:cubicBezTo>
                  <a:cubicBezTo>
                    <a:pt x="238054" y="274892"/>
                    <a:pt x="252604" y="265811"/>
                    <a:pt x="262509" y="255080"/>
                  </a:cubicBezTo>
                  <a:lnTo>
                    <a:pt x="290989" y="285417"/>
                  </a:lnTo>
                  <a:cubicBezTo>
                    <a:pt x="277368" y="300276"/>
                    <a:pt x="258279" y="312245"/>
                    <a:pt x="233720" y="321326"/>
                  </a:cubicBezTo>
                  <a:cubicBezTo>
                    <a:pt x="209162" y="330406"/>
                    <a:pt x="185326" y="334947"/>
                    <a:pt x="162211" y="334947"/>
                  </a:cubicBezTo>
                  <a:cubicBezTo>
                    <a:pt x="133732" y="334947"/>
                    <a:pt x="107109" y="327724"/>
                    <a:pt x="82344" y="313277"/>
                  </a:cubicBezTo>
                  <a:cubicBezTo>
                    <a:pt x="57579" y="298831"/>
                    <a:pt x="37664" y="278709"/>
                    <a:pt x="22599" y="252913"/>
                  </a:cubicBezTo>
                  <a:cubicBezTo>
                    <a:pt x="7533" y="227116"/>
                    <a:pt x="0" y="198326"/>
                    <a:pt x="0" y="166545"/>
                  </a:cubicBezTo>
                  <a:cubicBezTo>
                    <a:pt x="0" y="135588"/>
                    <a:pt x="7120" y="107315"/>
                    <a:pt x="21361" y="81725"/>
                  </a:cubicBezTo>
                  <a:cubicBezTo>
                    <a:pt x="35600" y="56134"/>
                    <a:pt x="54793" y="36116"/>
                    <a:pt x="78939" y="21669"/>
                  </a:cubicBezTo>
                  <a:cubicBezTo>
                    <a:pt x="103085" y="7223"/>
                    <a:pt x="129398" y="0"/>
                    <a:pt x="157877" y="0"/>
                  </a:cubicBezTo>
                  <a:close/>
                  <a:moveTo>
                    <a:pt x="159735" y="41481"/>
                  </a:moveTo>
                  <a:cubicBezTo>
                    <a:pt x="130842" y="41481"/>
                    <a:pt x="106077" y="50871"/>
                    <a:pt x="85440" y="69652"/>
                  </a:cubicBezTo>
                  <a:cubicBezTo>
                    <a:pt x="64802" y="88432"/>
                    <a:pt x="52420" y="113094"/>
                    <a:pt x="48292" y="143637"/>
                  </a:cubicBezTo>
                  <a:lnTo>
                    <a:pt x="263748" y="143637"/>
                  </a:lnTo>
                  <a:cubicBezTo>
                    <a:pt x="260446" y="113094"/>
                    <a:pt x="249921" y="88432"/>
                    <a:pt x="232172" y="69652"/>
                  </a:cubicBezTo>
                  <a:cubicBezTo>
                    <a:pt x="214424" y="50871"/>
                    <a:pt x="190278" y="41481"/>
                    <a:pt x="159735" y="4148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4899"/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2977B035-ADE6-4A4C-86F9-E9355E9D8122}"/>
                </a:ext>
              </a:extLst>
            </p:cNvPr>
            <p:cNvSpPr txBox="1">
              <a:spLocks/>
            </p:cNvSpPr>
            <p:nvPr/>
          </p:nvSpPr>
          <p:spPr>
            <a:xfrm>
              <a:off x="3757128" y="2275917"/>
              <a:ext cx="170259" cy="327517"/>
            </a:xfrm>
            <a:custGeom>
              <a:avLst/>
              <a:gdLst/>
              <a:ahLst/>
              <a:cxnLst/>
              <a:rect l="l" t="t" r="r" b="b"/>
              <a:pathLst>
                <a:path w="170259" h="327517">
                  <a:moveTo>
                    <a:pt x="170259" y="0"/>
                  </a:moveTo>
                  <a:lnTo>
                    <a:pt x="170259" y="41481"/>
                  </a:lnTo>
                  <a:cubicBezTo>
                    <a:pt x="146320" y="41481"/>
                    <a:pt x="124960" y="46022"/>
                    <a:pt x="106180" y="55102"/>
                  </a:cubicBezTo>
                  <a:cubicBezTo>
                    <a:pt x="87400" y="64183"/>
                    <a:pt x="72747" y="76875"/>
                    <a:pt x="62222" y="93178"/>
                  </a:cubicBezTo>
                  <a:cubicBezTo>
                    <a:pt x="51697" y="109482"/>
                    <a:pt x="46434" y="127953"/>
                    <a:pt x="46434" y="148590"/>
                  </a:cubicBezTo>
                  <a:lnTo>
                    <a:pt x="46434" y="327517"/>
                  </a:lnTo>
                  <a:lnTo>
                    <a:pt x="0" y="327517"/>
                  </a:lnTo>
                  <a:lnTo>
                    <a:pt x="0" y="7430"/>
                  </a:lnTo>
                  <a:lnTo>
                    <a:pt x="46434" y="7430"/>
                  </a:lnTo>
                  <a:lnTo>
                    <a:pt x="46434" y="69961"/>
                  </a:lnTo>
                  <a:cubicBezTo>
                    <a:pt x="55927" y="48498"/>
                    <a:pt x="71612" y="31472"/>
                    <a:pt x="93488" y="18883"/>
                  </a:cubicBezTo>
                  <a:cubicBezTo>
                    <a:pt x="115364" y="6294"/>
                    <a:pt x="140954" y="0"/>
                    <a:pt x="17025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4899"/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B5491C69-6B3D-4C4E-A712-AAE6470473FA}"/>
                </a:ext>
              </a:extLst>
            </p:cNvPr>
            <p:cNvSpPr txBox="1">
              <a:spLocks/>
            </p:cNvSpPr>
            <p:nvPr/>
          </p:nvSpPr>
          <p:spPr>
            <a:xfrm>
              <a:off x="3976917" y="2275917"/>
              <a:ext cx="329994" cy="334947"/>
            </a:xfrm>
            <a:custGeom>
              <a:avLst/>
              <a:gdLst/>
              <a:ahLst/>
              <a:cxnLst/>
              <a:rect l="l" t="t" r="r" b="b"/>
              <a:pathLst>
                <a:path w="329994" h="334947">
                  <a:moveTo>
                    <a:pt x="165307" y="0"/>
                  </a:moveTo>
                  <a:cubicBezTo>
                    <a:pt x="195025" y="0"/>
                    <a:pt x="222473" y="7533"/>
                    <a:pt x="247650" y="22598"/>
                  </a:cubicBezTo>
                  <a:cubicBezTo>
                    <a:pt x="272828" y="37663"/>
                    <a:pt x="292847" y="57991"/>
                    <a:pt x="307706" y="83582"/>
                  </a:cubicBezTo>
                  <a:cubicBezTo>
                    <a:pt x="322565" y="109172"/>
                    <a:pt x="329994" y="137033"/>
                    <a:pt x="329994" y="167164"/>
                  </a:cubicBezTo>
                  <a:cubicBezTo>
                    <a:pt x="329994" y="197295"/>
                    <a:pt x="322565" y="225258"/>
                    <a:pt x="307706" y="251055"/>
                  </a:cubicBezTo>
                  <a:cubicBezTo>
                    <a:pt x="292847" y="276852"/>
                    <a:pt x="272828" y="297283"/>
                    <a:pt x="247650" y="312349"/>
                  </a:cubicBezTo>
                  <a:cubicBezTo>
                    <a:pt x="222473" y="327414"/>
                    <a:pt x="195025" y="334947"/>
                    <a:pt x="165307" y="334947"/>
                  </a:cubicBezTo>
                  <a:cubicBezTo>
                    <a:pt x="135589" y="334947"/>
                    <a:pt x="108038" y="327414"/>
                    <a:pt x="82654" y="312349"/>
                  </a:cubicBezTo>
                  <a:cubicBezTo>
                    <a:pt x="57270" y="297283"/>
                    <a:pt x="37148" y="276852"/>
                    <a:pt x="22289" y="251055"/>
                  </a:cubicBezTo>
                  <a:cubicBezTo>
                    <a:pt x="7430" y="225258"/>
                    <a:pt x="0" y="197295"/>
                    <a:pt x="0" y="167164"/>
                  </a:cubicBezTo>
                  <a:cubicBezTo>
                    <a:pt x="0" y="137033"/>
                    <a:pt x="7430" y="109172"/>
                    <a:pt x="22289" y="83582"/>
                  </a:cubicBezTo>
                  <a:cubicBezTo>
                    <a:pt x="37148" y="57991"/>
                    <a:pt x="57270" y="37663"/>
                    <a:pt x="82654" y="22598"/>
                  </a:cubicBezTo>
                  <a:cubicBezTo>
                    <a:pt x="108038" y="7533"/>
                    <a:pt x="135589" y="0"/>
                    <a:pt x="165307" y="0"/>
                  </a:cubicBezTo>
                  <a:close/>
                  <a:moveTo>
                    <a:pt x="165307" y="41481"/>
                  </a:moveTo>
                  <a:cubicBezTo>
                    <a:pt x="144257" y="41481"/>
                    <a:pt x="124754" y="47157"/>
                    <a:pt x="106799" y="58507"/>
                  </a:cubicBezTo>
                  <a:cubicBezTo>
                    <a:pt x="88845" y="69858"/>
                    <a:pt x="74605" y="85130"/>
                    <a:pt x="64080" y="104323"/>
                  </a:cubicBezTo>
                  <a:cubicBezTo>
                    <a:pt x="53555" y="123515"/>
                    <a:pt x="48292" y="144463"/>
                    <a:pt x="48292" y="167164"/>
                  </a:cubicBezTo>
                  <a:cubicBezTo>
                    <a:pt x="48292" y="189865"/>
                    <a:pt x="53555" y="210915"/>
                    <a:pt x="64080" y="230314"/>
                  </a:cubicBezTo>
                  <a:cubicBezTo>
                    <a:pt x="74605" y="249714"/>
                    <a:pt x="88845" y="265089"/>
                    <a:pt x="106799" y="276439"/>
                  </a:cubicBezTo>
                  <a:cubicBezTo>
                    <a:pt x="124754" y="287790"/>
                    <a:pt x="144257" y="293465"/>
                    <a:pt x="165307" y="293465"/>
                  </a:cubicBezTo>
                  <a:cubicBezTo>
                    <a:pt x="186357" y="293465"/>
                    <a:pt x="205756" y="287790"/>
                    <a:pt x="223505" y="276439"/>
                  </a:cubicBezTo>
                  <a:cubicBezTo>
                    <a:pt x="241253" y="265089"/>
                    <a:pt x="255390" y="249714"/>
                    <a:pt x="265915" y="230314"/>
                  </a:cubicBezTo>
                  <a:cubicBezTo>
                    <a:pt x="276440" y="210915"/>
                    <a:pt x="281702" y="189865"/>
                    <a:pt x="281702" y="167164"/>
                  </a:cubicBezTo>
                  <a:cubicBezTo>
                    <a:pt x="281702" y="144463"/>
                    <a:pt x="276440" y="123515"/>
                    <a:pt x="265915" y="104323"/>
                  </a:cubicBezTo>
                  <a:cubicBezTo>
                    <a:pt x="255390" y="85130"/>
                    <a:pt x="241253" y="69858"/>
                    <a:pt x="223505" y="58507"/>
                  </a:cubicBezTo>
                  <a:cubicBezTo>
                    <a:pt x="205756" y="47157"/>
                    <a:pt x="186357" y="41481"/>
                    <a:pt x="165307" y="4148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4899"/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ED07AB51-93C8-42B3-BDB7-A2C7B1E8F5E3}"/>
                </a:ext>
              </a:extLst>
            </p:cNvPr>
            <p:cNvSpPr txBox="1">
              <a:spLocks/>
            </p:cNvSpPr>
            <p:nvPr/>
          </p:nvSpPr>
          <p:spPr>
            <a:xfrm>
              <a:off x="4385778" y="2275917"/>
              <a:ext cx="310182" cy="434007"/>
            </a:xfrm>
            <a:custGeom>
              <a:avLst/>
              <a:gdLst/>
              <a:ahLst/>
              <a:cxnLst/>
              <a:rect l="l" t="t" r="r" b="b"/>
              <a:pathLst>
                <a:path w="310182" h="434007">
                  <a:moveTo>
                    <a:pt x="162830" y="0"/>
                  </a:moveTo>
                  <a:cubicBezTo>
                    <a:pt x="190484" y="0"/>
                    <a:pt x="215559" y="7120"/>
                    <a:pt x="238053" y="21360"/>
                  </a:cubicBezTo>
                  <a:cubicBezTo>
                    <a:pt x="260548" y="35600"/>
                    <a:pt x="278193" y="55412"/>
                    <a:pt x="290989" y="80796"/>
                  </a:cubicBezTo>
                  <a:cubicBezTo>
                    <a:pt x="303784" y="106180"/>
                    <a:pt x="310182" y="134969"/>
                    <a:pt x="310182" y="167164"/>
                  </a:cubicBezTo>
                  <a:cubicBezTo>
                    <a:pt x="310182" y="199358"/>
                    <a:pt x="303784" y="228251"/>
                    <a:pt x="290989" y="253841"/>
                  </a:cubicBezTo>
                  <a:cubicBezTo>
                    <a:pt x="278193" y="279432"/>
                    <a:pt x="260548" y="299347"/>
                    <a:pt x="238053" y="313587"/>
                  </a:cubicBezTo>
                  <a:cubicBezTo>
                    <a:pt x="215559" y="327827"/>
                    <a:pt x="190484" y="334947"/>
                    <a:pt x="162830" y="334947"/>
                  </a:cubicBezTo>
                  <a:cubicBezTo>
                    <a:pt x="137652" y="334947"/>
                    <a:pt x="115054" y="329065"/>
                    <a:pt x="95035" y="317302"/>
                  </a:cubicBezTo>
                  <a:cubicBezTo>
                    <a:pt x="75018" y="305538"/>
                    <a:pt x="58817" y="288925"/>
                    <a:pt x="46434" y="267462"/>
                  </a:cubicBezTo>
                  <a:lnTo>
                    <a:pt x="46434" y="434007"/>
                  </a:lnTo>
                  <a:lnTo>
                    <a:pt x="0" y="434007"/>
                  </a:lnTo>
                  <a:lnTo>
                    <a:pt x="0" y="7430"/>
                  </a:lnTo>
                  <a:lnTo>
                    <a:pt x="46434" y="7430"/>
                  </a:lnTo>
                  <a:lnTo>
                    <a:pt x="46434" y="67485"/>
                  </a:lnTo>
                  <a:cubicBezTo>
                    <a:pt x="58817" y="46022"/>
                    <a:pt x="75018" y="29408"/>
                    <a:pt x="95035" y="17645"/>
                  </a:cubicBezTo>
                  <a:cubicBezTo>
                    <a:pt x="115054" y="5882"/>
                    <a:pt x="137652" y="0"/>
                    <a:pt x="162830" y="0"/>
                  </a:cubicBezTo>
                  <a:close/>
                  <a:moveTo>
                    <a:pt x="154162" y="41481"/>
                  </a:moveTo>
                  <a:cubicBezTo>
                    <a:pt x="133525" y="41481"/>
                    <a:pt x="114951" y="46847"/>
                    <a:pt x="98441" y="57579"/>
                  </a:cubicBezTo>
                  <a:cubicBezTo>
                    <a:pt x="81931" y="68310"/>
                    <a:pt x="69136" y="83169"/>
                    <a:pt x="60055" y="102156"/>
                  </a:cubicBezTo>
                  <a:cubicBezTo>
                    <a:pt x="50974" y="121142"/>
                    <a:pt x="46434" y="142812"/>
                    <a:pt x="46434" y="167164"/>
                  </a:cubicBezTo>
                  <a:cubicBezTo>
                    <a:pt x="46434" y="191516"/>
                    <a:pt x="50974" y="213289"/>
                    <a:pt x="60055" y="232481"/>
                  </a:cubicBezTo>
                  <a:cubicBezTo>
                    <a:pt x="69136" y="251674"/>
                    <a:pt x="81931" y="266637"/>
                    <a:pt x="98441" y="277368"/>
                  </a:cubicBezTo>
                  <a:cubicBezTo>
                    <a:pt x="114951" y="288100"/>
                    <a:pt x="133525" y="293465"/>
                    <a:pt x="154162" y="293465"/>
                  </a:cubicBezTo>
                  <a:cubicBezTo>
                    <a:pt x="174799" y="293465"/>
                    <a:pt x="193270" y="288100"/>
                    <a:pt x="209574" y="277368"/>
                  </a:cubicBezTo>
                  <a:cubicBezTo>
                    <a:pt x="225877" y="266637"/>
                    <a:pt x="238569" y="251674"/>
                    <a:pt x="247650" y="232481"/>
                  </a:cubicBezTo>
                  <a:cubicBezTo>
                    <a:pt x="256731" y="213289"/>
                    <a:pt x="261271" y="191516"/>
                    <a:pt x="261271" y="167164"/>
                  </a:cubicBezTo>
                  <a:cubicBezTo>
                    <a:pt x="261271" y="142812"/>
                    <a:pt x="256731" y="121142"/>
                    <a:pt x="247650" y="102156"/>
                  </a:cubicBezTo>
                  <a:cubicBezTo>
                    <a:pt x="238569" y="83169"/>
                    <a:pt x="225877" y="68310"/>
                    <a:pt x="209574" y="57579"/>
                  </a:cubicBezTo>
                  <a:cubicBezTo>
                    <a:pt x="193270" y="46847"/>
                    <a:pt x="174799" y="41481"/>
                    <a:pt x="154162" y="4148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4899"/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047A2D20-1802-410D-9F0E-D83DA9A2E647}"/>
                </a:ext>
              </a:extLst>
            </p:cNvPr>
            <p:cNvSpPr txBox="1">
              <a:spLocks/>
            </p:cNvSpPr>
            <p:nvPr/>
          </p:nvSpPr>
          <p:spPr>
            <a:xfrm>
              <a:off x="4748442" y="2275917"/>
              <a:ext cx="329994" cy="334947"/>
            </a:xfrm>
            <a:custGeom>
              <a:avLst/>
              <a:gdLst/>
              <a:ahLst/>
              <a:cxnLst/>
              <a:rect l="l" t="t" r="r" b="b"/>
              <a:pathLst>
                <a:path w="329994" h="334947">
                  <a:moveTo>
                    <a:pt x="165307" y="0"/>
                  </a:moveTo>
                  <a:cubicBezTo>
                    <a:pt x="195025" y="0"/>
                    <a:pt x="222472" y="7533"/>
                    <a:pt x="247651" y="22598"/>
                  </a:cubicBezTo>
                  <a:cubicBezTo>
                    <a:pt x="272828" y="37663"/>
                    <a:pt x="292847" y="57991"/>
                    <a:pt x="307706" y="83582"/>
                  </a:cubicBezTo>
                  <a:cubicBezTo>
                    <a:pt x="322565" y="109172"/>
                    <a:pt x="329994" y="137033"/>
                    <a:pt x="329994" y="167164"/>
                  </a:cubicBezTo>
                  <a:cubicBezTo>
                    <a:pt x="329994" y="197295"/>
                    <a:pt x="322565" y="225258"/>
                    <a:pt x="307706" y="251055"/>
                  </a:cubicBezTo>
                  <a:cubicBezTo>
                    <a:pt x="292847" y="276852"/>
                    <a:pt x="272828" y="297283"/>
                    <a:pt x="247651" y="312349"/>
                  </a:cubicBezTo>
                  <a:cubicBezTo>
                    <a:pt x="222472" y="327414"/>
                    <a:pt x="195025" y="334947"/>
                    <a:pt x="165307" y="334947"/>
                  </a:cubicBezTo>
                  <a:cubicBezTo>
                    <a:pt x="135589" y="334947"/>
                    <a:pt x="108038" y="327414"/>
                    <a:pt x="82654" y="312349"/>
                  </a:cubicBezTo>
                  <a:cubicBezTo>
                    <a:pt x="57269" y="297283"/>
                    <a:pt x="37148" y="276852"/>
                    <a:pt x="22289" y="251055"/>
                  </a:cubicBezTo>
                  <a:cubicBezTo>
                    <a:pt x="7430" y="225258"/>
                    <a:pt x="0" y="197295"/>
                    <a:pt x="0" y="167164"/>
                  </a:cubicBezTo>
                  <a:cubicBezTo>
                    <a:pt x="0" y="137033"/>
                    <a:pt x="7430" y="109172"/>
                    <a:pt x="22289" y="83582"/>
                  </a:cubicBezTo>
                  <a:cubicBezTo>
                    <a:pt x="37148" y="57991"/>
                    <a:pt x="57269" y="37663"/>
                    <a:pt x="82654" y="22598"/>
                  </a:cubicBezTo>
                  <a:cubicBezTo>
                    <a:pt x="108038" y="7533"/>
                    <a:pt x="135589" y="0"/>
                    <a:pt x="165307" y="0"/>
                  </a:cubicBezTo>
                  <a:close/>
                  <a:moveTo>
                    <a:pt x="165307" y="41481"/>
                  </a:moveTo>
                  <a:cubicBezTo>
                    <a:pt x="144257" y="41481"/>
                    <a:pt x="124754" y="47157"/>
                    <a:pt x="106800" y="58507"/>
                  </a:cubicBezTo>
                  <a:cubicBezTo>
                    <a:pt x="88845" y="69858"/>
                    <a:pt x="74605" y="85130"/>
                    <a:pt x="64080" y="104323"/>
                  </a:cubicBezTo>
                  <a:cubicBezTo>
                    <a:pt x="53555" y="123515"/>
                    <a:pt x="48292" y="144463"/>
                    <a:pt x="48292" y="167164"/>
                  </a:cubicBezTo>
                  <a:cubicBezTo>
                    <a:pt x="48292" y="189865"/>
                    <a:pt x="53555" y="210915"/>
                    <a:pt x="64080" y="230314"/>
                  </a:cubicBezTo>
                  <a:cubicBezTo>
                    <a:pt x="74605" y="249714"/>
                    <a:pt x="88845" y="265089"/>
                    <a:pt x="106800" y="276439"/>
                  </a:cubicBezTo>
                  <a:cubicBezTo>
                    <a:pt x="124754" y="287790"/>
                    <a:pt x="144257" y="293465"/>
                    <a:pt x="165307" y="293465"/>
                  </a:cubicBezTo>
                  <a:cubicBezTo>
                    <a:pt x="186357" y="293465"/>
                    <a:pt x="205756" y="287790"/>
                    <a:pt x="223505" y="276439"/>
                  </a:cubicBezTo>
                  <a:cubicBezTo>
                    <a:pt x="241253" y="265089"/>
                    <a:pt x="255390" y="249714"/>
                    <a:pt x="265915" y="230314"/>
                  </a:cubicBezTo>
                  <a:cubicBezTo>
                    <a:pt x="276440" y="210915"/>
                    <a:pt x="281702" y="189865"/>
                    <a:pt x="281702" y="167164"/>
                  </a:cubicBezTo>
                  <a:cubicBezTo>
                    <a:pt x="281702" y="144463"/>
                    <a:pt x="276440" y="123515"/>
                    <a:pt x="265915" y="104323"/>
                  </a:cubicBezTo>
                  <a:cubicBezTo>
                    <a:pt x="255390" y="85130"/>
                    <a:pt x="241253" y="69858"/>
                    <a:pt x="223505" y="58507"/>
                  </a:cubicBezTo>
                  <a:cubicBezTo>
                    <a:pt x="205756" y="47157"/>
                    <a:pt x="186357" y="41481"/>
                    <a:pt x="165307" y="4148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4899"/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C0F960C2-D281-4BC9-BACA-B4004C0AB29F}"/>
                </a:ext>
              </a:extLst>
            </p:cNvPr>
            <p:cNvSpPr txBox="1">
              <a:spLocks/>
            </p:cNvSpPr>
            <p:nvPr/>
          </p:nvSpPr>
          <p:spPr>
            <a:xfrm>
              <a:off x="5428671" y="2275917"/>
              <a:ext cx="249506" cy="334947"/>
            </a:xfrm>
            <a:custGeom>
              <a:avLst/>
              <a:gdLst/>
              <a:ahLst/>
              <a:cxnLst/>
              <a:rect l="l" t="t" r="r" b="b"/>
              <a:pathLst>
                <a:path w="249506" h="334947">
                  <a:moveTo>
                    <a:pt x="127539" y="0"/>
                  </a:moveTo>
                  <a:cubicBezTo>
                    <a:pt x="146938" y="0"/>
                    <a:pt x="166544" y="3199"/>
                    <a:pt x="186356" y="9596"/>
                  </a:cubicBezTo>
                  <a:cubicBezTo>
                    <a:pt x="206168" y="15994"/>
                    <a:pt x="224742" y="24765"/>
                    <a:pt x="242077" y="35909"/>
                  </a:cubicBezTo>
                  <a:lnTo>
                    <a:pt x="219789" y="71819"/>
                  </a:lnTo>
                  <a:cubicBezTo>
                    <a:pt x="188007" y="51594"/>
                    <a:pt x="157257" y="41481"/>
                    <a:pt x="127539" y="41481"/>
                  </a:cubicBezTo>
                  <a:cubicBezTo>
                    <a:pt x="108553" y="41481"/>
                    <a:pt x="92868" y="45609"/>
                    <a:pt x="80486" y="53864"/>
                  </a:cubicBezTo>
                  <a:cubicBezTo>
                    <a:pt x="68103" y="62119"/>
                    <a:pt x="61912" y="73676"/>
                    <a:pt x="61912" y="88535"/>
                  </a:cubicBezTo>
                  <a:cubicBezTo>
                    <a:pt x="61912" y="97615"/>
                    <a:pt x="64594" y="105045"/>
                    <a:pt x="69960" y="110823"/>
                  </a:cubicBezTo>
                  <a:cubicBezTo>
                    <a:pt x="75326" y="116602"/>
                    <a:pt x="83375" y="121761"/>
                    <a:pt x="94107" y="126302"/>
                  </a:cubicBezTo>
                  <a:cubicBezTo>
                    <a:pt x="104838" y="130842"/>
                    <a:pt x="121761" y="136827"/>
                    <a:pt x="144875" y="144256"/>
                  </a:cubicBezTo>
                  <a:cubicBezTo>
                    <a:pt x="167576" y="151273"/>
                    <a:pt x="185943" y="158083"/>
                    <a:pt x="199977" y="164687"/>
                  </a:cubicBezTo>
                  <a:cubicBezTo>
                    <a:pt x="214010" y="171291"/>
                    <a:pt x="225774" y="180475"/>
                    <a:pt x="235267" y="192238"/>
                  </a:cubicBezTo>
                  <a:cubicBezTo>
                    <a:pt x="244760" y="204002"/>
                    <a:pt x="249506" y="219377"/>
                    <a:pt x="249506" y="238363"/>
                  </a:cubicBezTo>
                  <a:cubicBezTo>
                    <a:pt x="249506" y="267256"/>
                    <a:pt x="238466" y="290576"/>
                    <a:pt x="216383" y="308324"/>
                  </a:cubicBezTo>
                  <a:cubicBezTo>
                    <a:pt x="194301" y="326073"/>
                    <a:pt x="166338" y="334947"/>
                    <a:pt x="132492" y="334947"/>
                  </a:cubicBezTo>
                  <a:cubicBezTo>
                    <a:pt x="109791" y="334947"/>
                    <a:pt x="86780" y="330819"/>
                    <a:pt x="63460" y="322564"/>
                  </a:cubicBezTo>
                  <a:cubicBezTo>
                    <a:pt x="40139" y="314309"/>
                    <a:pt x="18986" y="302546"/>
                    <a:pt x="0" y="287274"/>
                  </a:cubicBezTo>
                  <a:lnTo>
                    <a:pt x="24145" y="253222"/>
                  </a:lnTo>
                  <a:cubicBezTo>
                    <a:pt x="60880" y="280051"/>
                    <a:pt x="96995" y="293465"/>
                    <a:pt x="132492" y="293465"/>
                  </a:cubicBezTo>
                  <a:cubicBezTo>
                    <a:pt x="153543" y="293465"/>
                    <a:pt x="170568" y="288925"/>
                    <a:pt x="183570" y="279845"/>
                  </a:cubicBezTo>
                  <a:cubicBezTo>
                    <a:pt x="196572" y="270764"/>
                    <a:pt x="203073" y="258588"/>
                    <a:pt x="203073" y="243316"/>
                  </a:cubicBezTo>
                  <a:cubicBezTo>
                    <a:pt x="203073" y="232585"/>
                    <a:pt x="199564" y="223607"/>
                    <a:pt x="192547" y="216384"/>
                  </a:cubicBezTo>
                  <a:cubicBezTo>
                    <a:pt x="185531" y="209161"/>
                    <a:pt x="176760" y="203486"/>
                    <a:pt x="166235" y="199358"/>
                  </a:cubicBezTo>
                  <a:cubicBezTo>
                    <a:pt x="155709" y="195231"/>
                    <a:pt x="141160" y="190484"/>
                    <a:pt x="122586" y="185118"/>
                  </a:cubicBezTo>
                  <a:cubicBezTo>
                    <a:pt x="83375" y="173974"/>
                    <a:pt x="55721" y="161695"/>
                    <a:pt x="39624" y="148280"/>
                  </a:cubicBezTo>
                  <a:cubicBezTo>
                    <a:pt x="23526" y="134866"/>
                    <a:pt x="15478" y="116808"/>
                    <a:pt x="15478" y="94107"/>
                  </a:cubicBezTo>
                  <a:cubicBezTo>
                    <a:pt x="15478" y="65627"/>
                    <a:pt x="26003" y="42823"/>
                    <a:pt x="47053" y="25694"/>
                  </a:cubicBezTo>
                  <a:cubicBezTo>
                    <a:pt x="68103" y="8565"/>
                    <a:pt x="94932" y="0"/>
                    <a:pt x="12753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4899"/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EAD02CAE-EA62-46F9-AF21-428066FCE7DE}"/>
                </a:ext>
              </a:extLst>
            </p:cNvPr>
            <p:cNvSpPr txBox="1">
              <a:spLocks/>
            </p:cNvSpPr>
            <p:nvPr/>
          </p:nvSpPr>
          <p:spPr>
            <a:xfrm>
              <a:off x="5309703" y="2283347"/>
              <a:ext cx="46435" cy="320087"/>
            </a:xfrm>
            <a:custGeom>
              <a:avLst/>
              <a:gdLst/>
              <a:ahLst/>
              <a:cxnLst/>
              <a:rect l="l" t="t" r="r" b="b"/>
              <a:pathLst>
                <a:path w="46435" h="320087">
                  <a:moveTo>
                    <a:pt x="0" y="0"/>
                  </a:moveTo>
                  <a:lnTo>
                    <a:pt x="46435" y="0"/>
                  </a:lnTo>
                  <a:lnTo>
                    <a:pt x="46435" y="320087"/>
                  </a:lnTo>
                  <a:lnTo>
                    <a:pt x="0" y="32008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4899"/>
            </a:p>
          </p:txBody>
        </p:sp>
      </p:grpSp>
    </p:spTree>
    <p:extLst>
      <p:ext uri="{BB962C8B-B14F-4D97-AF65-F5344CB8AC3E}">
        <p14:creationId xmlns:p14="http://schemas.microsoft.com/office/powerpoint/2010/main" val="3483339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0" name="Group 59">
            <a:extLst>
              <a:ext uri="{FF2B5EF4-FFF2-40B4-BE49-F238E27FC236}">
                <a16:creationId xmlns:a16="http://schemas.microsoft.com/office/drawing/2014/main" id="{8442F8FF-5DB1-44B3-AF2C-1A531EA36FEA}"/>
              </a:ext>
            </a:extLst>
          </p:cNvPr>
          <p:cNvGrpSpPr/>
          <p:nvPr userDrawn="1"/>
        </p:nvGrpSpPr>
        <p:grpSpPr bwMode="gray">
          <a:xfrm>
            <a:off x="0" y="0"/>
            <a:ext cx="12188826" cy="6858004"/>
            <a:chOff x="0" y="-4"/>
            <a:chExt cx="12188826" cy="6858004"/>
          </a:xfrm>
        </p:grpSpPr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E2F285D2-B641-461F-87F0-20A9C65B2EF7}"/>
                </a:ext>
              </a:extLst>
            </p:cNvPr>
            <p:cNvGrpSpPr/>
            <p:nvPr/>
          </p:nvGrpSpPr>
          <p:grpSpPr bwMode="gray">
            <a:xfrm>
              <a:off x="609441" y="1600198"/>
              <a:ext cx="10055941" cy="4580469"/>
              <a:chOff x="609441" y="1600198"/>
              <a:chExt cx="10055941" cy="4580469"/>
            </a:xfrm>
          </p:grpSpPr>
          <p:sp>
            <p:nvSpPr>
              <p:cNvPr id="110" name="Rectangle 109">
                <a:extLst>
                  <a:ext uri="{FF2B5EF4-FFF2-40B4-BE49-F238E27FC236}">
                    <a16:creationId xmlns:a16="http://schemas.microsoft.com/office/drawing/2014/main" id="{115EE1AC-AAA1-4CAF-886B-474B1A0C95C4}"/>
                  </a:ext>
                </a:extLst>
              </p:cNvPr>
              <p:cNvSpPr/>
              <p:nvPr/>
            </p:nvSpPr>
            <p:spPr bwMode="gray">
              <a:xfrm>
                <a:off x="609441" y="1600199"/>
                <a:ext cx="914203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799"/>
              </a:p>
            </p:txBody>
          </p:sp>
          <p:sp>
            <p:nvSpPr>
              <p:cNvPr id="111" name="Rectangle 110">
                <a:extLst>
                  <a:ext uri="{FF2B5EF4-FFF2-40B4-BE49-F238E27FC236}">
                    <a16:creationId xmlns:a16="http://schemas.microsoft.com/office/drawing/2014/main" id="{7037B7F2-249C-4DB7-A4FF-AD7E08892A0F}"/>
                  </a:ext>
                </a:extLst>
              </p:cNvPr>
              <p:cNvSpPr/>
              <p:nvPr/>
            </p:nvSpPr>
            <p:spPr bwMode="gray">
              <a:xfrm>
                <a:off x="2436448" y="1600198"/>
                <a:ext cx="915282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799"/>
              </a:p>
            </p:txBody>
          </p:sp>
          <p:sp>
            <p:nvSpPr>
              <p:cNvPr id="112" name="Rectangle 111">
                <a:extLst>
                  <a:ext uri="{FF2B5EF4-FFF2-40B4-BE49-F238E27FC236}">
                    <a16:creationId xmlns:a16="http://schemas.microsoft.com/office/drawing/2014/main" id="{6B02FE08-2379-4E6C-AE27-D7D2ECAB18B8}"/>
                  </a:ext>
                </a:extLst>
              </p:cNvPr>
              <p:cNvSpPr/>
              <p:nvPr/>
            </p:nvSpPr>
            <p:spPr bwMode="gray">
              <a:xfrm>
                <a:off x="4263453" y="1600198"/>
                <a:ext cx="920909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799"/>
              </a:p>
            </p:txBody>
          </p:sp>
          <p:sp>
            <p:nvSpPr>
              <p:cNvPr id="113" name="Rectangle 112">
                <a:extLst>
                  <a:ext uri="{FF2B5EF4-FFF2-40B4-BE49-F238E27FC236}">
                    <a16:creationId xmlns:a16="http://schemas.microsoft.com/office/drawing/2014/main" id="{D7C17E9A-3B70-4668-8EAE-9C7D73BACCA1}"/>
                  </a:ext>
                </a:extLst>
              </p:cNvPr>
              <p:cNvSpPr/>
              <p:nvPr/>
            </p:nvSpPr>
            <p:spPr bwMode="gray">
              <a:xfrm>
                <a:off x="6090459" y="1600198"/>
                <a:ext cx="920909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799"/>
              </a:p>
            </p:txBody>
          </p:sp>
          <p:sp>
            <p:nvSpPr>
              <p:cNvPr id="114" name="Rectangle 113">
                <a:extLst>
                  <a:ext uri="{FF2B5EF4-FFF2-40B4-BE49-F238E27FC236}">
                    <a16:creationId xmlns:a16="http://schemas.microsoft.com/office/drawing/2014/main" id="{E02751E5-34AD-4357-BC67-2269F668FD57}"/>
                  </a:ext>
                </a:extLst>
              </p:cNvPr>
              <p:cNvSpPr/>
              <p:nvPr/>
            </p:nvSpPr>
            <p:spPr bwMode="gray">
              <a:xfrm>
                <a:off x="7921943" y="1600198"/>
                <a:ext cx="916431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799"/>
              </a:p>
            </p:txBody>
          </p:sp>
          <p:sp>
            <p:nvSpPr>
              <p:cNvPr id="115" name="Rectangle 114">
                <a:extLst>
                  <a:ext uri="{FF2B5EF4-FFF2-40B4-BE49-F238E27FC236}">
                    <a16:creationId xmlns:a16="http://schemas.microsoft.com/office/drawing/2014/main" id="{452A85DA-B39F-40AB-B423-9F7CCB3D0D63}"/>
                  </a:ext>
                </a:extLst>
              </p:cNvPr>
              <p:cNvSpPr/>
              <p:nvPr/>
            </p:nvSpPr>
            <p:spPr bwMode="gray">
              <a:xfrm>
                <a:off x="9750028" y="1600198"/>
                <a:ext cx="915354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799"/>
              </a:p>
            </p:txBody>
          </p: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C5C1459D-4F6E-4671-8566-3143311EA541}"/>
                </a:ext>
              </a:extLst>
            </p:cNvPr>
            <p:cNvGrpSpPr/>
            <p:nvPr userDrawn="1"/>
          </p:nvGrpSpPr>
          <p:grpSpPr bwMode="gray">
            <a:xfrm>
              <a:off x="0" y="-4"/>
              <a:ext cx="12188826" cy="6858004"/>
              <a:chOff x="0" y="-4"/>
              <a:chExt cx="12188826" cy="6858004"/>
            </a:xfrm>
          </p:grpSpPr>
          <p:grpSp>
            <p:nvGrpSpPr>
              <p:cNvPr id="63" name="Group 62">
                <a:extLst>
                  <a:ext uri="{FF2B5EF4-FFF2-40B4-BE49-F238E27FC236}">
                    <a16:creationId xmlns:a16="http://schemas.microsoft.com/office/drawing/2014/main" id="{015AFD00-19E3-4F92-9570-1F3E8AEC3EC4}"/>
                  </a:ext>
                </a:extLst>
              </p:cNvPr>
              <p:cNvGrpSpPr/>
              <p:nvPr>
                <p:custDataLst>
                  <p:tags r:id="rId1"/>
                </p:custDataLst>
              </p:nvPr>
            </p:nvGrpSpPr>
            <p:grpSpPr bwMode="gray">
              <a:xfrm>
                <a:off x="0" y="-4"/>
                <a:ext cx="12188826" cy="6858004"/>
                <a:chOff x="0" y="1"/>
                <a:chExt cx="12188826" cy="6858004"/>
              </a:xfrm>
            </p:grpSpPr>
            <p:grpSp>
              <p:nvGrpSpPr>
                <p:cNvPr id="65" name="Group 64">
                  <a:extLst>
                    <a:ext uri="{FF2B5EF4-FFF2-40B4-BE49-F238E27FC236}">
                      <a16:creationId xmlns:a16="http://schemas.microsoft.com/office/drawing/2014/main" id="{56B51E9A-9BC0-4A23-95C7-9E14C94FDF8A}"/>
                    </a:ext>
                  </a:extLst>
                </p:cNvPr>
                <p:cNvGrpSpPr/>
                <p:nvPr/>
              </p:nvGrpSpPr>
              <p:grpSpPr bwMode="gray">
                <a:xfrm>
                  <a:off x="609601" y="2684"/>
                  <a:ext cx="10962504" cy="6855315"/>
                  <a:chOff x="0" y="0"/>
                  <a:chExt cx="10962504" cy="6858000"/>
                </a:xfrm>
              </p:grpSpPr>
              <p:cxnSp>
                <p:nvCxnSpPr>
                  <p:cNvPr id="85" name="Straight Connector 84">
                    <a:extLst>
                      <a:ext uri="{FF2B5EF4-FFF2-40B4-BE49-F238E27FC236}">
                        <a16:creationId xmlns:a16="http://schemas.microsoft.com/office/drawing/2014/main" id="{5B6B4CFD-041A-4081-89A4-C2B194E6465E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0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6" name="Straight Connector 85">
                    <a:extLst>
                      <a:ext uri="{FF2B5EF4-FFF2-40B4-BE49-F238E27FC236}">
                        <a16:creationId xmlns:a16="http://schemas.microsoft.com/office/drawing/2014/main" id="{C63B978F-4215-434A-A0BE-E77776CE37B1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914043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7" name="Straight Connector 86">
                    <a:extLst>
                      <a:ext uri="{FF2B5EF4-FFF2-40B4-BE49-F238E27FC236}">
                        <a16:creationId xmlns:a16="http://schemas.microsoft.com/office/drawing/2014/main" id="{09EEB78C-3DA9-4AD7-BFB1-207EDE403F9D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1371064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8" name="Straight Connector 87">
                    <a:extLst>
                      <a:ext uri="{FF2B5EF4-FFF2-40B4-BE49-F238E27FC236}">
                        <a16:creationId xmlns:a16="http://schemas.microsoft.com/office/drawing/2014/main" id="{F062D7CE-4A4A-4C41-833F-B30B3E74AEAC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1828085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9" name="Straight Connector 88">
                    <a:extLst>
                      <a:ext uri="{FF2B5EF4-FFF2-40B4-BE49-F238E27FC236}">
                        <a16:creationId xmlns:a16="http://schemas.microsoft.com/office/drawing/2014/main" id="{19C628EF-969E-4429-A992-9AD0AFECF81E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2285107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0" name="Straight Connector 89">
                    <a:extLst>
                      <a:ext uri="{FF2B5EF4-FFF2-40B4-BE49-F238E27FC236}">
                        <a16:creationId xmlns:a16="http://schemas.microsoft.com/office/drawing/2014/main" id="{8C7BD383-0D5C-4E3A-99F7-4DC5A51DF948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2742128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1" name="Straight Connector 90">
                    <a:extLst>
                      <a:ext uri="{FF2B5EF4-FFF2-40B4-BE49-F238E27FC236}">
                        <a16:creationId xmlns:a16="http://schemas.microsoft.com/office/drawing/2014/main" id="{FAA2EE63-4F24-4A26-9268-D15D92D5B068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3199149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2" name="Straight Connector 91">
                    <a:extLst>
                      <a:ext uri="{FF2B5EF4-FFF2-40B4-BE49-F238E27FC236}">
                        <a16:creationId xmlns:a16="http://schemas.microsoft.com/office/drawing/2014/main" id="{F64BB08D-864A-44D4-88F6-679DBAE518B7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3656171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3" name="Straight Connector 92">
                    <a:extLst>
                      <a:ext uri="{FF2B5EF4-FFF2-40B4-BE49-F238E27FC236}">
                        <a16:creationId xmlns:a16="http://schemas.microsoft.com/office/drawing/2014/main" id="{9FA3F8A1-60DA-47E1-92DD-967475B2DF58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4113192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4" name="Straight Connector 93">
                    <a:extLst>
                      <a:ext uri="{FF2B5EF4-FFF2-40B4-BE49-F238E27FC236}">
                        <a16:creationId xmlns:a16="http://schemas.microsoft.com/office/drawing/2014/main" id="{4DECF40D-CC60-45F8-B236-F9FAC1F3E8CF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4570213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5" name="Straight Connector 94">
                    <a:extLst>
                      <a:ext uri="{FF2B5EF4-FFF2-40B4-BE49-F238E27FC236}">
                        <a16:creationId xmlns:a16="http://schemas.microsoft.com/office/drawing/2014/main" id="{623BAEC6-A3C2-4892-9093-BD8EA8A7E0F6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5027235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6" name="Straight Connector 95">
                    <a:extLst>
                      <a:ext uri="{FF2B5EF4-FFF2-40B4-BE49-F238E27FC236}">
                        <a16:creationId xmlns:a16="http://schemas.microsoft.com/office/drawing/2014/main" id="{D4E16FB9-EDCA-4CA6-9212-0AEBFCE175D7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5484256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7" name="Straight Connector 96">
                    <a:extLst>
                      <a:ext uri="{FF2B5EF4-FFF2-40B4-BE49-F238E27FC236}">
                        <a16:creationId xmlns:a16="http://schemas.microsoft.com/office/drawing/2014/main" id="{F3AE637F-804F-4244-9AA9-FF4A629A143C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5941277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8" name="Straight Connector 97">
                    <a:extLst>
                      <a:ext uri="{FF2B5EF4-FFF2-40B4-BE49-F238E27FC236}">
                        <a16:creationId xmlns:a16="http://schemas.microsoft.com/office/drawing/2014/main" id="{5EFB8414-3949-428A-B700-7C38A44425B2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6398299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9" name="Straight Connector 98">
                    <a:extLst>
                      <a:ext uri="{FF2B5EF4-FFF2-40B4-BE49-F238E27FC236}">
                        <a16:creationId xmlns:a16="http://schemas.microsoft.com/office/drawing/2014/main" id="{BA61D1AB-B7D2-4169-B38F-56371D50E1DA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6855320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0" name="Straight Connector 99">
                    <a:extLst>
                      <a:ext uri="{FF2B5EF4-FFF2-40B4-BE49-F238E27FC236}">
                        <a16:creationId xmlns:a16="http://schemas.microsoft.com/office/drawing/2014/main" id="{D00C4593-A442-4B6C-8E9D-80BFEB1746D6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7312342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1" name="Straight Connector 100">
                    <a:extLst>
                      <a:ext uri="{FF2B5EF4-FFF2-40B4-BE49-F238E27FC236}">
                        <a16:creationId xmlns:a16="http://schemas.microsoft.com/office/drawing/2014/main" id="{95B5E413-FAFF-430F-B105-4D122D50AEE1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7769363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2" name="Straight Connector 101">
                    <a:extLst>
                      <a:ext uri="{FF2B5EF4-FFF2-40B4-BE49-F238E27FC236}">
                        <a16:creationId xmlns:a16="http://schemas.microsoft.com/office/drawing/2014/main" id="{2B845328-662D-4D12-A209-6A0B1E78DF14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8226384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3" name="Straight Connector 102">
                    <a:extLst>
                      <a:ext uri="{FF2B5EF4-FFF2-40B4-BE49-F238E27FC236}">
                        <a16:creationId xmlns:a16="http://schemas.microsoft.com/office/drawing/2014/main" id="{2AC19B5D-D919-4A48-953C-03994329E19B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9140427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4" name="Straight Connector 103">
                    <a:extLst>
                      <a:ext uri="{FF2B5EF4-FFF2-40B4-BE49-F238E27FC236}">
                        <a16:creationId xmlns:a16="http://schemas.microsoft.com/office/drawing/2014/main" id="{AC81C8DC-CB2F-445A-8F7B-5A864393B553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8683406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5" name="Straight Connector 104">
                    <a:extLst>
                      <a:ext uri="{FF2B5EF4-FFF2-40B4-BE49-F238E27FC236}">
                        <a16:creationId xmlns:a16="http://schemas.microsoft.com/office/drawing/2014/main" id="{F3CD9F68-6C35-4B43-B8E1-1ABF75D8D588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9597448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6" name="Straight Connector 105">
                    <a:extLst>
                      <a:ext uri="{FF2B5EF4-FFF2-40B4-BE49-F238E27FC236}">
                        <a16:creationId xmlns:a16="http://schemas.microsoft.com/office/drawing/2014/main" id="{BBBCE95B-721C-44A5-8B94-8F0E42FF53FE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10054470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7" name="Straight Connector 106">
                    <a:extLst>
                      <a:ext uri="{FF2B5EF4-FFF2-40B4-BE49-F238E27FC236}">
                        <a16:creationId xmlns:a16="http://schemas.microsoft.com/office/drawing/2014/main" id="{3B934F61-1ED7-4209-A1E3-04C68085B10E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10511491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8" name="Straight Connector 107">
                    <a:extLst>
                      <a:ext uri="{FF2B5EF4-FFF2-40B4-BE49-F238E27FC236}">
                        <a16:creationId xmlns:a16="http://schemas.microsoft.com/office/drawing/2014/main" id="{8F636E46-095E-439D-B78B-EBC72DB23290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457021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9" name="Straight Connector 108">
                    <a:extLst>
                      <a:ext uri="{FF2B5EF4-FFF2-40B4-BE49-F238E27FC236}">
                        <a16:creationId xmlns:a16="http://schemas.microsoft.com/office/drawing/2014/main" id="{61497272-E949-488B-B9F6-FD10BA6526BF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10962504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66" name="Group 65">
                  <a:extLst>
                    <a:ext uri="{FF2B5EF4-FFF2-40B4-BE49-F238E27FC236}">
                      <a16:creationId xmlns:a16="http://schemas.microsoft.com/office/drawing/2014/main" id="{B645DFBA-090A-4E89-BFE2-570C1D04D7A5}"/>
                    </a:ext>
                  </a:extLst>
                </p:cNvPr>
                <p:cNvGrpSpPr/>
                <p:nvPr/>
              </p:nvGrpSpPr>
              <p:grpSpPr bwMode="gray">
                <a:xfrm>
                  <a:off x="0" y="1"/>
                  <a:ext cx="12188826" cy="6858004"/>
                  <a:chOff x="0" y="1"/>
                  <a:chExt cx="12188826" cy="6858004"/>
                </a:xfrm>
              </p:grpSpPr>
              <p:cxnSp>
                <p:nvCxnSpPr>
                  <p:cNvPr id="67" name="Straight Connector 66">
                    <a:extLst>
                      <a:ext uri="{FF2B5EF4-FFF2-40B4-BE49-F238E27FC236}">
                        <a16:creationId xmlns:a16="http://schemas.microsoft.com/office/drawing/2014/main" id="{E34689D4-9BAE-40BF-B953-E1A0CA4F5C15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6094412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8" name="Straight Connector 67">
                    <a:extLst>
                      <a:ext uri="{FF2B5EF4-FFF2-40B4-BE49-F238E27FC236}">
                        <a16:creationId xmlns:a16="http://schemas.microsoft.com/office/drawing/2014/main" id="{674A3364-6F4C-4749-A110-B336801330E0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5637211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9" name="Straight Connector 68">
                    <a:extLst>
                      <a:ext uri="{FF2B5EF4-FFF2-40B4-BE49-F238E27FC236}">
                        <a16:creationId xmlns:a16="http://schemas.microsoft.com/office/drawing/2014/main" id="{690EC6B6-039D-4549-B1B1-8FF8A3FC2F66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5180011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0" name="Straight Connector 69">
                    <a:extLst>
                      <a:ext uri="{FF2B5EF4-FFF2-40B4-BE49-F238E27FC236}">
                        <a16:creationId xmlns:a16="http://schemas.microsoft.com/office/drawing/2014/main" id="{155F4FAC-9412-45E9-99EC-FDC351D60453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31202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1" name="Straight Connector 70">
                    <a:extLst>
                      <a:ext uri="{FF2B5EF4-FFF2-40B4-BE49-F238E27FC236}">
                        <a16:creationId xmlns:a16="http://schemas.microsoft.com/office/drawing/2014/main" id="{5A0C0A33-67B3-48C9-9B83-C39DFDEF5E0A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26630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2" name="Straight Connector 71">
                    <a:extLst>
                      <a:ext uri="{FF2B5EF4-FFF2-40B4-BE49-F238E27FC236}">
                        <a16:creationId xmlns:a16="http://schemas.microsoft.com/office/drawing/2014/main" id="{A87FF284-D960-4A05-8053-9886608C6599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22058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3" name="Straight Connector 72">
                    <a:extLst>
                      <a:ext uri="{FF2B5EF4-FFF2-40B4-BE49-F238E27FC236}">
                        <a16:creationId xmlns:a16="http://schemas.microsoft.com/office/drawing/2014/main" id="{6BA61019-342C-4EDD-97C6-EDA59774644E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17486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4" name="Straight Connector 73">
                    <a:extLst>
                      <a:ext uri="{FF2B5EF4-FFF2-40B4-BE49-F238E27FC236}">
                        <a16:creationId xmlns:a16="http://schemas.microsoft.com/office/drawing/2014/main" id="{234785CB-17D0-49DD-8DC9-3C93626DC776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1291437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5" name="Straight Connector 74">
                    <a:extLst>
                      <a:ext uri="{FF2B5EF4-FFF2-40B4-BE49-F238E27FC236}">
                        <a16:creationId xmlns:a16="http://schemas.microsoft.com/office/drawing/2014/main" id="{425DB222-E3A0-48A3-BBD5-FD2616577D2D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834237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6" name="Straight Connector 75">
                    <a:extLst>
                      <a:ext uri="{FF2B5EF4-FFF2-40B4-BE49-F238E27FC236}">
                        <a16:creationId xmlns:a16="http://schemas.microsoft.com/office/drawing/2014/main" id="{C433E4E5-A945-4652-B574-37C6580344B0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gray">
                  <a:xfrm flipH="1">
                    <a:off x="1" y="5717376"/>
                    <a:ext cx="12188825" cy="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7" name="Straight Connector 76">
                    <a:extLst>
                      <a:ext uri="{FF2B5EF4-FFF2-40B4-BE49-F238E27FC236}">
                        <a16:creationId xmlns:a16="http://schemas.microsoft.com/office/drawing/2014/main" id="{352A597B-2B35-4BD4-B07E-D8CEF25A597D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763592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8" name="Straight Connector 77">
                    <a:extLst>
                      <a:ext uri="{FF2B5EF4-FFF2-40B4-BE49-F238E27FC236}">
                        <a16:creationId xmlns:a16="http://schemas.microsoft.com/office/drawing/2014/main" id="{9351C336-9D65-42C9-A33F-6971E6322E46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5637212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9" name="Straight Connector 78">
                    <a:extLst>
                      <a:ext uri="{FF2B5EF4-FFF2-40B4-BE49-F238E27FC236}">
                        <a16:creationId xmlns:a16="http://schemas.microsoft.com/office/drawing/2014/main" id="{FCAD9518-36D4-43F7-839D-D8FE389DF1F1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4951411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0" name="Straight Connector 79">
                    <a:extLst>
                      <a:ext uri="{FF2B5EF4-FFF2-40B4-BE49-F238E27FC236}">
                        <a16:creationId xmlns:a16="http://schemas.microsoft.com/office/drawing/2014/main" id="{55575B3F-2A8B-4175-B6A5-D60652B87ED0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86257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1" name="Straight Connector 80">
                    <a:extLst>
                      <a:ext uri="{FF2B5EF4-FFF2-40B4-BE49-F238E27FC236}">
                        <a16:creationId xmlns:a16="http://schemas.microsoft.com/office/drawing/2014/main" id="{1CCC90FC-8476-4A2A-8DF1-ECAB053A24FD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30638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2" name="Straight Connector 81">
                    <a:extLst>
                      <a:ext uri="{FF2B5EF4-FFF2-40B4-BE49-F238E27FC236}">
                        <a16:creationId xmlns:a16="http://schemas.microsoft.com/office/drawing/2014/main" id="{DFB03C8E-4661-465A-B25F-147D497525A0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40346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3" name="Straight Connector 82">
                    <a:extLst>
                      <a:ext uri="{FF2B5EF4-FFF2-40B4-BE49-F238E27FC236}">
                        <a16:creationId xmlns:a16="http://schemas.microsoft.com/office/drawing/2014/main" id="{88C8E030-5491-4C40-9E10-B197BD5CD587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35774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4" name="Straight Connector 83">
                    <a:extLst>
                      <a:ext uri="{FF2B5EF4-FFF2-40B4-BE49-F238E27FC236}">
                        <a16:creationId xmlns:a16="http://schemas.microsoft.com/office/drawing/2014/main" id="{E0EBA261-0409-41DC-98E2-4BF8173333E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gray">
                  <a:xfrm rot="5400000">
                    <a:off x="6094413" y="-4494211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B119DAC7-36FB-491E-A6EB-B78E57CAECBF}"/>
                  </a:ext>
                </a:extLst>
              </p:cNvPr>
              <p:cNvSpPr txBox="1"/>
              <p:nvPr userDrawn="1"/>
            </p:nvSpPr>
            <p:spPr bwMode="gray">
              <a:xfrm>
                <a:off x="592866" y="5723466"/>
                <a:ext cx="7329077" cy="47413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>
                <a:no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sz="700"/>
                  <a:t>Footnote: Lorem ipsum dolor sit amet, consectetur adipiscing elit. Maecenas dui magna, sagittis at feugiat eget, viverra eu libero. Vestibulum a justo mi. Etiam blandit tempus odio. Fusce orci lectus, tincidunt eget hendrerit quis, blandit non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65629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0B535B2D-9361-4E88-8BBD-C6E1EB066B37}"/>
              </a:ext>
            </a:extLst>
          </p:cNvPr>
          <p:cNvSpPr/>
          <p:nvPr userDrawn="1"/>
        </p:nvSpPr>
        <p:spPr>
          <a:xfrm>
            <a:off x="1" y="0"/>
            <a:ext cx="12188825" cy="6858000"/>
          </a:xfrm>
          <a:prstGeom prst="rect">
            <a:avLst/>
          </a:prstGeom>
          <a:solidFill>
            <a:srgbClr val="F8981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799">
              <a:solidFill>
                <a:schemeClr val="accent2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5AED08D-D489-4C23-BFE9-9C4A6A94C4DA}"/>
              </a:ext>
            </a:extLst>
          </p:cNvPr>
          <p:cNvSpPr txBox="1"/>
          <p:nvPr userDrawn="1"/>
        </p:nvSpPr>
        <p:spPr>
          <a:xfrm>
            <a:off x="606393" y="721895"/>
            <a:ext cx="10876547" cy="48800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5398" spc="300">
                <a:solidFill>
                  <a:schemeClr val="bg1"/>
                </a:solidFill>
              </a:rPr>
              <a:t>DO NOT USE </a:t>
            </a:r>
          </a:p>
          <a:p>
            <a:pPr algn="ctr">
              <a:lnSpc>
                <a:spcPct val="90000"/>
              </a:lnSpc>
            </a:pPr>
            <a:endParaRPr lang="en-US" sz="5398" spc="300">
              <a:solidFill>
                <a:schemeClr val="bg1"/>
              </a:solidFill>
            </a:endParaRPr>
          </a:p>
          <a:p>
            <a:pPr algn="ctr">
              <a:lnSpc>
                <a:spcPct val="90000"/>
              </a:lnSpc>
            </a:pPr>
            <a:r>
              <a:rPr lang="en-US" sz="5398" spc="300">
                <a:solidFill>
                  <a:schemeClr val="bg1"/>
                </a:solidFill>
              </a:rPr>
              <a:t>ALL LAYOUTS PAST THIS ARE NOT PART OF THIS TEMPLATE</a:t>
            </a:r>
          </a:p>
        </p:txBody>
      </p:sp>
    </p:spTree>
    <p:extLst>
      <p:ext uri="{BB962C8B-B14F-4D97-AF65-F5344CB8AC3E}">
        <p14:creationId xmlns:p14="http://schemas.microsoft.com/office/powerpoint/2010/main" val="2201861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B7217DE-1965-47B9-B9BF-BF37EF137B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B7217DE-1965-47B9-B9BF-BF37EF137B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8950B906-C5A3-4658-B24C-B2B533310D26}"/>
              </a:ext>
            </a:extLst>
          </p:cNvPr>
          <p:cNvSpPr txBox="1"/>
          <p:nvPr userDrawn="1"/>
        </p:nvSpPr>
        <p:spPr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rgbClr val="717074"/>
                </a:solidFill>
                <a:latin typeface="Metropolis Ligh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solidFill>
                <a:srgbClr val="717074"/>
              </a:solidFill>
              <a:latin typeface="Metropolis Light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E333358-58C9-4949-98D5-BC5D4A3168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none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67179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Content Balanced –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D034FA3F-D529-4D8B-B6EC-A8341FCAF67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ltGray">
          <a:xfrm>
            <a:off x="0" y="1600201"/>
            <a:ext cx="5893593" cy="4572000"/>
          </a:xfrm>
          <a:solidFill>
            <a:schemeClr val="accent4"/>
          </a:solidFill>
        </p:spPr>
        <p:txBody>
          <a:bodyPr vert="horz" lIns="594360" tIns="457200" rIns="457200" bIns="457200" rtlCol="0">
            <a:noAutofit/>
          </a:bodyPr>
          <a:lstStyle>
            <a:lvl1pPr>
              <a:spcBef>
                <a:spcPts val="1200"/>
              </a:spcBef>
              <a:defRPr lang="en-US" sz="1800" dirty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lang="en-US" sz="1600" dirty="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lang="en-US" sz="1400" dirty="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lang="en-US" sz="1200" dirty="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lang="en-US" sz="1200" dirty="0">
                <a:solidFill>
                  <a:schemeClr val="bg1"/>
                </a:solidFill>
              </a:defRPr>
            </a:lvl5pPr>
            <a:lvl6pPr>
              <a:buClrTx/>
              <a:defRPr sz="1800">
                <a:solidFill>
                  <a:schemeClr val="bg1"/>
                </a:solidFill>
              </a:defRPr>
            </a:lvl6pPr>
            <a:lvl7pPr>
              <a:buClrTx/>
              <a:defRPr sz="1400">
                <a:solidFill>
                  <a:schemeClr val="bg1"/>
                </a:solidFill>
              </a:defRPr>
            </a:lvl7pPr>
            <a:lvl8pPr>
              <a:buClrTx/>
              <a:defRPr sz="1200">
                <a:solidFill>
                  <a:schemeClr val="bg1"/>
                </a:solidFill>
              </a:defRPr>
            </a:lvl8pPr>
            <a:lvl9pPr>
              <a:buClrTx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 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72" name="Content Placeholder 17">
            <a:extLst>
              <a:ext uri="{FF2B5EF4-FFF2-40B4-BE49-F238E27FC236}">
                <a16:creationId xmlns:a16="http://schemas.microsoft.com/office/drawing/2014/main" id="{A0456ED3-FDC5-4E29-B939-E35EA08477CA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 bwMode="ltGray">
          <a:xfrm>
            <a:off x="6323381" y="1600201"/>
            <a:ext cx="5865445" cy="4572000"/>
          </a:xfrm>
          <a:solidFill>
            <a:schemeClr val="accent1"/>
          </a:solidFill>
        </p:spPr>
        <p:txBody>
          <a:bodyPr lIns="457200" tIns="457200" rIns="594360"/>
          <a:lstStyle>
            <a:lvl1pPr>
              <a:spcBef>
                <a:spcPts val="1200"/>
              </a:spcBef>
              <a:defRPr sz="18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2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6A9629E-98B5-43F5-8323-C894B734208A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dirty="0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00E4C6-16B5-49A9-898A-3B53C5AB06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One Line Tit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38535540-CB20-4CD5-9F73-DB64F5A49CD3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10136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6782F443-93A0-4919-89E7-37E501919603}"/>
              </a:ext>
            </a:extLst>
          </p:cNvPr>
          <p:cNvSpPr/>
          <p:nvPr userDrawn="1"/>
        </p:nvSpPr>
        <p:spPr>
          <a:xfrm rot="2700000">
            <a:off x="1530975" y="-2580079"/>
            <a:ext cx="3206987" cy="9623529"/>
          </a:xfrm>
          <a:custGeom>
            <a:avLst/>
            <a:gdLst>
              <a:gd name="connsiteX0" fmla="*/ 3621 w 3204432"/>
              <a:gd name="connsiteY0" fmla="*/ 3200811 h 9623529"/>
              <a:gd name="connsiteX1" fmla="*/ 3204432 w 3204432"/>
              <a:gd name="connsiteY1" fmla="*/ 0 h 9623529"/>
              <a:gd name="connsiteX2" fmla="*/ 3204432 w 3204432"/>
              <a:gd name="connsiteY2" fmla="*/ 8389488 h 9623529"/>
              <a:gd name="connsiteX3" fmla="*/ 3197162 w 3204432"/>
              <a:gd name="connsiteY3" fmla="*/ 8389488 h 9623529"/>
              <a:gd name="connsiteX4" fmla="*/ 3201565 w 3204432"/>
              <a:gd name="connsiteY4" fmla="*/ 8393890 h 9623529"/>
              <a:gd name="connsiteX5" fmla="*/ 1971926 w 3204432"/>
              <a:gd name="connsiteY5" fmla="*/ 9623529 h 9623529"/>
              <a:gd name="connsiteX6" fmla="*/ 0 w 3204432"/>
              <a:gd name="connsiteY6" fmla="*/ 7651603 h 9623529"/>
              <a:gd name="connsiteX7" fmla="*/ 3621 w 3204432"/>
              <a:gd name="connsiteY7" fmla="*/ 7647982 h 9623529"/>
              <a:gd name="connsiteX8" fmla="*/ 3621 w 3204432"/>
              <a:gd name="connsiteY8" fmla="*/ 3200811 h 9623529"/>
              <a:gd name="connsiteX0" fmla="*/ 3621 w 3206055"/>
              <a:gd name="connsiteY0" fmla="*/ 3200811 h 9623529"/>
              <a:gd name="connsiteX1" fmla="*/ 3204432 w 3206055"/>
              <a:gd name="connsiteY1" fmla="*/ 0 h 9623529"/>
              <a:gd name="connsiteX2" fmla="*/ 3204432 w 3206055"/>
              <a:gd name="connsiteY2" fmla="*/ 8389488 h 9623529"/>
              <a:gd name="connsiteX3" fmla="*/ 3197162 w 3206055"/>
              <a:gd name="connsiteY3" fmla="*/ 8389488 h 9623529"/>
              <a:gd name="connsiteX4" fmla="*/ 3206055 w 3206055"/>
              <a:gd name="connsiteY4" fmla="*/ 9386208 h 9623529"/>
              <a:gd name="connsiteX5" fmla="*/ 1971926 w 3206055"/>
              <a:gd name="connsiteY5" fmla="*/ 9623529 h 9623529"/>
              <a:gd name="connsiteX6" fmla="*/ 0 w 3206055"/>
              <a:gd name="connsiteY6" fmla="*/ 7651603 h 9623529"/>
              <a:gd name="connsiteX7" fmla="*/ 3621 w 3206055"/>
              <a:gd name="connsiteY7" fmla="*/ 7647982 h 9623529"/>
              <a:gd name="connsiteX8" fmla="*/ 3621 w 3206055"/>
              <a:gd name="connsiteY8" fmla="*/ 3200811 h 9623529"/>
              <a:gd name="connsiteX0" fmla="*/ 3621 w 3206987"/>
              <a:gd name="connsiteY0" fmla="*/ 3200811 h 9623529"/>
              <a:gd name="connsiteX1" fmla="*/ 3204432 w 3206987"/>
              <a:gd name="connsiteY1" fmla="*/ 0 h 9623529"/>
              <a:gd name="connsiteX2" fmla="*/ 3204432 w 3206987"/>
              <a:gd name="connsiteY2" fmla="*/ 8389488 h 9623529"/>
              <a:gd name="connsiteX3" fmla="*/ 3206142 w 3206987"/>
              <a:gd name="connsiteY3" fmla="*/ 8407448 h 9623529"/>
              <a:gd name="connsiteX4" fmla="*/ 3206055 w 3206987"/>
              <a:gd name="connsiteY4" fmla="*/ 9386208 h 9623529"/>
              <a:gd name="connsiteX5" fmla="*/ 1971926 w 3206987"/>
              <a:gd name="connsiteY5" fmla="*/ 9623529 h 9623529"/>
              <a:gd name="connsiteX6" fmla="*/ 0 w 3206987"/>
              <a:gd name="connsiteY6" fmla="*/ 7651603 h 9623529"/>
              <a:gd name="connsiteX7" fmla="*/ 3621 w 3206987"/>
              <a:gd name="connsiteY7" fmla="*/ 7647982 h 9623529"/>
              <a:gd name="connsiteX8" fmla="*/ 3621 w 3206987"/>
              <a:gd name="connsiteY8" fmla="*/ 3200811 h 96235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206987" h="9623529">
                <a:moveTo>
                  <a:pt x="3621" y="3200811"/>
                </a:moveTo>
                <a:lnTo>
                  <a:pt x="3204432" y="0"/>
                </a:lnTo>
                <a:lnTo>
                  <a:pt x="3204432" y="8389488"/>
                </a:lnTo>
                <a:lnTo>
                  <a:pt x="3206142" y="8407448"/>
                </a:lnTo>
                <a:cubicBezTo>
                  <a:pt x="3209106" y="8739688"/>
                  <a:pt x="3203091" y="9053968"/>
                  <a:pt x="3206055" y="9386208"/>
                </a:cubicBezTo>
                <a:lnTo>
                  <a:pt x="1971926" y="9623529"/>
                </a:lnTo>
                <a:lnTo>
                  <a:pt x="0" y="7651603"/>
                </a:lnTo>
                <a:lnTo>
                  <a:pt x="3621" y="7647982"/>
                </a:lnTo>
                <a:lnTo>
                  <a:pt x="3621" y="3200811"/>
                </a:lnTo>
                <a:close/>
              </a:path>
            </a:pathLst>
          </a:custGeom>
          <a:gradFill>
            <a:gsLst>
              <a:gs pos="24000">
                <a:schemeClr val="accent4"/>
              </a:gs>
              <a:gs pos="87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72DCDC53-603A-40A5-A8CC-0073D40D11EF}"/>
              </a:ext>
            </a:extLst>
          </p:cNvPr>
          <p:cNvSpPr/>
          <p:nvPr userDrawn="1"/>
        </p:nvSpPr>
        <p:spPr>
          <a:xfrm rot="2700000">
            <a:off x="1632126" y="1230939"/>
            <a:ext cx="3535790" cy="7514148"/>
          </a:xfrm>
          <a:custGeom>
            <a:avLst/>
            <a:gdLst>
              <a:gd name="connsiteX0" fmla="*/ 0 w 3535790"/>
              <a:gd name="connsiteY0" fmla="*/ 0 h 7514148"/>
              <a:gd name="connsiteX1" fmla="*/ 3535790 w 3535790"/>
              <a:gd name="connsiteY1" fmla="*/ 0 h 7514148"/>
              <a:gd name="connsiteX2" fmla="*/ 3535790 w 3535790"/>
              <a:gd name="connsiteY2" fmla="*/ 4642648 h 7514148"/>
              <a:gd name="connsiteX3" fmla="*/ 706090 w 3535790"/>
              <a:gd name="connsiteY3" fmla="*/ 7514148 h 7514148"/>
              <a:gd name="connsiteX4" fmla="*/ 0 w 3535790"/>
              <a:gd name="connsiteY4" fmla="*/ 6808058 h 7514148"/>
              <a:gd name="connsiteX5" fmla="*/ 0 w 3535790"/>
              <a:gd name="connsiteY5" fmla="*/ 0 h 75141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35790" h="7514148">
                <a:moveTo>
                  <a:pt x="0" y="0"/>
                </a:moveTo>
                <a:lnTo>
                  <a:pt x="3535790" y="0"/>
                </a:lnTo>
                <a:lnTo>
                  <a:pt x="3535790" y="4642648"/>
                </a:lnTo>
                <a:lnTo>
                  <a:pt x="706090" y="7514148"/>
                </a:lnTo>
                <a:lnTo>
                  <a:pt x="0" y="680805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143">
                <a:schemeClr val="bg1">
                  <a:alpha val="0"/>
                </a:schemeClr>
              </a:gs>
              <a:gs pos="14000">
                <a:schemeClr val="bg1">
                  <a:alpha val="0"/>
                </a:schemeClr>
              </a:gs>
              <a:gs pos="72000">
                <a:schemeClr val="accent1"/>
              </a:gs>
            </a:gsLst>
            <a:lin ang="4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92948" y="1582578"/>
            <a:ext cx="4996403" cy="1234440"/>
          </a:xfrm>
        </p:spPr>
        <p:txBody>
          <a:bodyPr wrap="square" anchor="b"/>
          <a:lstStyle>
            <a:lvl1pPr algn="l">
              <a:defRPr sz="4000" b="0"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8" name="Subtitle 2">
            <a:extLst>
              <a:ext uri="{FF2B5EF4-FFF2-40B4-BE49-F238E27FC236}">
                <a16:creationId xmlns:a16="http://schemas.microsoft.com/office/drawing/2014/main" id="{6EBAFA4D-7B92-4E38-8320-94F3BCA2E41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592948" y="2867279"/>
            <a:ext cx="5116452" cy="4164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accent4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EA43E1E-B208-4DC4-9D6A-01669D00DA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92948" y="4737425"/>
            <a:ext cx="3657600" cy="355601"/>
          </a:xfrm>
        </p:spPr>
        <p:txBody>
          <a:bodyPr anchor="b"/>
          <a:lstStyle>
            <a:lvl1pPr algn="l"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29" name="Text Placeholder 6">
            <a:extLst>
              <a:ext uri="{FF2B5EF4-FFF2-40B4-BE49-F238E27FC236}">
                <a16:creationId xmlns:a16="http://schemas.microsoft.com/office/drawing/2014/main" id="{2111BB8B-7B37-4FB4-B2CD-984FE1C6C5E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92948" y="5138745"/>
            <a:ext cx="3657600" cy="355601"/>
          </a:xfrm>
        </p:spPr>
        <p:txBody>
          <a:bodyPr/>
          <a:lstStyle>
            <a:lvl1pPr algn="l"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Role / Division at VMwa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68E7D54E-C753-48F7-AB43-C7A586277F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92948" y="5494346"/>
            <a:ext cx="3657600" cy="267221"/>
          </a:xfrm>
        </p:spPr>
        <p:txBody>
          <a:bodyPr/>
          <a:lstStyle>
            <a:lvl1pPr algn="l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71B1726-E7C5-4C32-A22F-BB8C0CA833E9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0AEE4566-BDD0-43EB-8593-753B4AFC53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CDDDBBBD-2B47-4F32-9507-B47217AD31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9A63A2EB-B414-427C-8975-27B69B276D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4AFD0B14-399F-447F-BBDD-FF049C867FA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0778A2AC-9D1D-4FDB-973A-47DEA98860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52873CFF-17A0-467C-B061-5E3FD5E92C7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C351EEF9-CE8C-4948-8867-FDC697419B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576FCBCF-AFA0-4D2E-AF64-919BFE9B44B8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fidential   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©2019 VMware, Inc.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3" name="Ink 2">
                <a:extLst>
                  <a:ext uri="{FF2B5EF4-FFF2-40B4-BE49-F238E27FC236}">
                    <a16:creationId xmlns:a16="http://schemas.microsoft.com/office/drawing/2014/main" id="{229416F8-1B20-4892-97FA-108F191A5885}"/>
                  </a:ext>
                </a:extLst>
              </p14:cNvPr>
              <p14:cNvContentPartPr/>
              <p14:nvPr userDrawn="1"/>
            </p14:nvContentPartPr>
            <p14:xfrm>
              <a:off x="9859593" y="4881179"/>
              <a:ext cx="240" cy="240"/>
            </p14:xfrm>
          </p:contentPart>
        </mc:Choice>
        <mc:Fallback xmlns="">
          <p:pic>
            <p:nvPicPr>
              <p:cNvPr id="3" name="Ink 2">
                <a:extLst>
                  <a:ext uri="{FF2B5EF4-FFF2-40B4-BE49-F238E27FC236}">
                    <a16:creationId xmlns:a16="http://schemas.microsoft.com/office/drawing/2014/main" id="{229416F8-1B20-4892-97FA-108F191A5885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9855513" y="4877099"/>
                <a:ext cx="7920" cy="79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852734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– Plu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1468" y="2014608"/>
            <a:ext cx="6062978" cy="1234440"/>
          </a:xfrm>
        </p:spPr>
        <p:txBody>
          <a:bodyPr wrap="square" anchor="b"/>
          <a:lstStyle>
            <a:lvl1pPr algn="l">
              <a:defRPr sz="4000" b="0"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28" name="Subtitle 2">
            <a:extLst>
              <a:ext uri="{FF2B5EF4-FFF2-40B4-BE49-F238E27FC236}">
                <a16:creationId xmlns:a16="http://schemas.microsoft.com/office/drawing/2014/main" id="{6EBAFA4D-7B92-4E38-8320-94F3BCA2E41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51468" y="3303246"/>
            <a:ext cx="6062978" cy="4164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EA43E1E-B208-4DC4-9D6A-01669D00DA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1468" y="4737425"/>
            <a:ext cx="6062978" cy="355601"/>
          </a:xfrm>
        </p:spPr>
        <p:txBody>
          <a:bodyPr anchor="b"/>
          <a:lstStyle>
            <a:lvl1pPr algn="l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uthor Name</a:t>
            </a:r>
          </a:p>
        </p:txBody>
      </p:sp>
      <p:sp>
        <p:nvSpPr>
          <p:cNvPr id="129" name="Text Placeholder 6">
            <a:extLst>
              <a:ext uri="{FF2B5EF4-FFF2-40B4-BE49-F238E27FC236}">
                <a16:creationId xmlns:a16="http://schemas.microsoft.com/office/drawing/2014/main" id="{2111BB8B-7B37-4FB4-B2CD-984FE1C6C5E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1468" y="5138745"/>
            <a:ext cx="6062978" cy="355601"/>
          </a:xfrm>
        </p:spPr>
        <p:txBody>
          <a:bodyPr/>
          <a:lstStyle>
            <a:lvl1pPr algn="l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uthor Titl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71B1726-E7C5-4C32-A22F-BB8C0CA833E9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0AEE4566-BDD0-43EB-8593-753B4AFC53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CDDDBBBD-2B47-4F32-9507-B47217AD31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9A63A2EB-B414-427C-8975-27B69B276D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4AFD0B14-399F-447F-BBDD-FF049C867FA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0778A2AC-9D1D-4FDB-973A-47DEA98860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52873CFF-17A0-467C-B061-5E3FD5E92C7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C351EEF9-CE8C-4948-8867-FDC697419B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3" name="Ink 2">
                <a:extLst>
                  <a:ext uri="{FF2B5EF4-FFF2-40B4-BE49-F238E27FC236}">
                    <a16:creationId xmlns:a16="http://schemas.microsoft.com/office/drawing/2014/main" id="{229416F8-1B20-4892-97FA-108F191A5885}"/>
                  </a:ext>
                </a:extLst>
              </p14:cNvPr>
              <p14:cNvContentPartPr/>
              <p14:nvPr userDrawn="1"/>
            </p14:nvContentPartPr>
            <p14:xfrm>
              <a:off x="9859593" y="4881179"/>
              <a:ext cx="240" cy="240"/>
            </p14:xfrm>
          </p:contentPart>
        </mc:Choice>
        <mc:Fallback xmlns="">
          <p:pic>
            <p:nvPicPr>
              <p:cNvPr id="3" name="Ink 2">
                <a:extLst>
                  <a:ext uri="{FF2B5EF4-FFF2-40B4-BE49-F238E27FC236}">
                    <a16:creationId xmlns:a16="http://schemas.microsoft.com/office/drawing/2014/main" id="{229416F8-1B20-4892-97FA-108F191A5885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9855513" y="4877099"/>
                <a:ext cx="7920" cy="79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535218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–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BCB68143-A247-4F5B-9173-3D82D6706BFE}"/>
              </a:ext>
            </a:extLst>
          </p:cNvPr>
          <p:cNvSpPr/>
          <p:nvPr userDrawn="1"/>
        </p:nvSpPr>
        <p:spPr>
          <a:xfrm rot="2700000">
            <a:off x="1530975" y="-2580079"/>
            <a:ext cx="3206987" cy="9623529"/>
          </a:xfrm>
          <a:custGeom>
            <a:avLst/>
            <a:gdLst>
              <a:gd name="connsiteX0" fmla="*/ 3621 w 3204432"/>
              <a:gd name="connsiteY0" fmla="*/ 3200811 h 9623529"/>
              <a:gd name="connsiteX1" fmla="*/ 3204432 w 3204432"/>
              <a:gd name="connsiteY1" fmla="*/ 0 h 9623529"/>
              <a:gd name="connsiteX2" fmla="*/ 3204432 w 3204432"/>
              <a:gd name="connsiteY2" fmla="*/ 8389488 h 9623529"/>
              <a:gd name="connsiteX3" fmla="*/ 3197162 w 3204432"/>
              <a:gd name="connsiteY3" fmla="*/ 8389488 h 9623529"/>
              <a:gd name="connsiteX4" fmla="*/ 3201565 w 3204432"/>
              <a:gd name="connsiteY4" fmla="*/ 8393890 h 9623529"/>
              <a:gd name="connsiteX5" fmla="*/ 1971926 w 3204432"/>
              <a:gd name="connsiteY5" fmla="*/ 9623529 h 9623529"/>
              <a:gd name="connsiteX6" fmla="*/ 0 w 3204432"/>
              <a:gd name="connsiteY6" fmla="*/ 7651603 h 9623529"/>
              <a:gd name="connsiteX7" fmla="*/ 3621 w 3204432"/>
              <a:gd name="connsiteY7" fmla="*/ 7647982 h 9623529"/>
              <a:gd name="connsiteX8" fmla="*/ 3621 w 3204432"/>
              <a:gd name="connsiteY8" fmla="*/ 3200811 h 9623529"/>
              <a:gd name="connsiteX0" fmla="*/ 3621 w 3206055"/>
              <a:gd name="connsiteY0" fmla="*/ 3200811 h 9623529"/>
              <a:gd name="connsiteX1" fmla="*/ 3204432 w 3206055"/>
              <a:gd name="connsiteY1" fmla="*/ 0 h 9623529"/>
              <a:gd name="connsiteX2" fmla="*/ 3204432 w 3206055"/>
              <a:gd name="connsiteY2" fmla="*/ 8389488 h 9623529"/>
              <a:gd name="connsiteX3" fmla="*/ 3197162 w 3206055"/>
              <a:gd name="connsiteY3" fmla="*/ 8389488 h 9623529"/>
              <a:gd name="connsiteX4" fmla="*/ 3206055 w 3206055"/>
              <a:gd name="connsiteY4" fmla="*/ 9386208 h 9623529"/>
              <a:gd name="connsiteX5" fmla="*/ 1971926 w 3206055"/>
              <a:gd name="connsiteY5" fmla="*/ 9623529 h 9623529"/>
              <a:gd name="connsiteX6" fmla="*/ 0 w 3206055"/>
              <a:gd name="connsiteY6" fmla="*/ 7651603 h 9623529"/>
              <a:gd name="connsiteX7" fmla="*/ 3621 w 3206055"/>
              <a:gd name="connsiteY7" fmla="*/ 7647982 h 9623529"/>
              <a:gd name="connsiteX8" fmla="*/ 3621 w 3206055"/>
              <a:gd name="connsiteY8" fmla="*/ 3200811 h 9623529"/>
              <a:gd name="connsiteX0" fmla="*/ 3621 w 3206987"/>
              <a:gd name="connsiteY0" fmla="*/ 3200811 h 9623529"/>
              <a:gd name="connsiteX1" fmla="*/ 3204432 w 3206987"/>
              <a:gd name="connsiteY1" fmla="*/ 0 h 9623529"/>
              <a:gd name="connsiteX2" fmla="*/ 3204432 w 3206987"/>
              <a:gd name="connsiteY2" fmla="*/ 8389488 h 9623529"/>
              <a:gd name="connsiteX3" fmla="*/ 3206142 w 3206987"/>
              <a:gd name="connsiteY3" fmla="*/ 8407448 h 9623529"/>
              <a:gd name="connsiteX4" fmla="*/ 3206055 w 3206987"/>
              <a:gd name="connsiteY4" fmla="*/ 9386208 h 9623529"/>
              <a:gd name="connsiteX5" fmla="*/ 1971926 w 3206987"/>
              <a:gd name="connsiteY5" fmla="*/ 9623529 h 9623529"/>
              <a:gd name="connsiteX6" fmla="*/ 0 w 3206987"/>
              <a:gd name="connsiteY6" fmla="*/ 7651603 h 9623529"/>
              <a:gd name="connsiteX7" fmla="*/ 3621 w 3206987"/>
              <a:gd name="connsiteY7" fmla="*/ 7647982 h 9623529"/>
              <a:gd name="connsiteX8" fmla="*/ 3621 w 3206987"/>
              <a:gd name="connsiteY8" fmla="*/ 3200811 h 96235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206987" h="9623529">
                <a:moveTo>
                  <a:pt x="3621" y="3200811"/>
                </a:moveTo>
                <a:lnTo>
                  <a:pt x="3204432" y="0"/>
                </a:lnTo>
                <a:lnTo>
                  <a:pt x="3204432" y="8389488"/>
                </a:lnTo>
                <a:lnTo>
                  <a:pt x="3206142" y="8407448"/>
                </a:lnTo>
                <a:cubicBezTo>
                  <a:pt x="3209106" y="8739688"/>
                  <a:pt x="3203091" y="9053968"/>
                  <a:pt x="3206055" y="9386208"/>
                </a:cubicBezTo>
                <a:lnTo>
                  <a:pt x="1971926" y="9623529"/>
                </a:lnTo>
                <a:lnTo>
                  <a:pt x="0" y="7651603"/>
                </a:lnTo>
                <a:lnTo>
                  <a:pt x="3621" y="7647982"/>
                </a:lnTo>
                <a:lnTo>
                  <a:pt x="3621" y="3200811"/>
                </a:lnTo>
                <a:close/>
              </a:path>
            </a:pathLst>
          </a:custGeom>
          <a:gradFill>
            <a:gsLst>
              <a:gs pos="24000">
                <a:schemeClr val="accent3"/>
              </a:gs>
              <a:gs pos="87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865D9BB8-44B7-4046-A859-7B01AD84E349}"/>
              </a:ext>
            </a:extLst>
          </p:cNvPr>
          <p:cNvSpPr/>
          <p:nvPr userDrawn="1"/>
        </p:nvSpPr>
        <p:spPr>
          <a:xfrm rot="2700000">
            <a:off x="1632126" y="1230939"/>
            <a:ext cx="3535790" cy="7514148"/>
          </a:xfrm>
          <a:custGeom>
            <a:avLst/>
            <a:gdLst>
              <a:gd name="connsiteX0" fmla="*/ 0 w 3535790"/>
              <a:gd name="connsiteY0" fmla="*/ 0 h 7514148"/>
              <a:gd name="connsiteX1" fmla="*/ 3535790 w 3535790"/>
              <a:gd name="connsiteY1" fmla="*/ 0 h 7514148"/>
              <a:gd name="connsiteX2" fmla="*/ 3535790 w 3535790"/>
              <a:gd name="connsiteY2" fmla="*/ 4642648 h 7514148"/>
              <a:gd name="connsiteX3" fmla="*/ 706090 w 3535790"/>
              <a:gd name="connsiteY3" fmla="*/ 7514148 h 7514148"/>
              <a:gd name="connsiteX4" fmla="*/ 0 w 3535790"/>
              <a:gd name="connsiteY4" fmla="*/ 6808058 h 7514148"/>
              <a:gd name="connsiteX5" fmla="*/ 0 w 3535790"/>
              <a:gd name="connsiteY5" fmla="*/ 0 h 75141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35790" h="7514148">
                <a:moveTo>
                  <a:pt x="0" y="0"/>
                </a:moveTo>
                <a:lnTo>
                  <a:pt x="3535790" y="0"/>
                </a:lnTo>
                <a:lnTo>
                  <a:pt x="3535790" y="4642648"/>
                </a:lnTo>
                <a:lnTo>
                  <a:pt x="706090" y="7514148"/>
                </a:lnTo>
                <a:lnTo>
                  <a:pt x="0" y="680805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143">
                <a:schemeClr val="bg1">
                  <a:alpha val="0"/>
                </a:schemeClr>
              </a:gs>
              <a:gs pos="14000">
                <a:schemeClr val="bg1">
                  <a:alpha val="0"/>
                </a:schemeClr>
              </a:gs>
              <a:gs pos="72000">
                <a:schemeClr val="accent1"/>
              </a:gs>
            </a:gsLst>
            <a:lin ang="4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92948" y="1582578"/>
            <a:ext cx="4996403" cy="1234440"/>
          </a:xfrm>
        </p:spPr>
        <p:txBody>
          <a:bodyPr wrap="square" anchor="b"/>
          <a:lstStyle>
            <a:lvl1pPr algn="l">
              <a:defRPr sz="4000" b="0"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8" name="Subtitle 2">
            <a:extLst>
              <a:ext uri="{FF2B5EF4-FFF2-40B4-BE49-F238E27FC236}">
                <a16:creationId xmlns:a16="http://schemas.microsoft.com/office/drawing/2014/main" id="{6EBAFA4D-7B92-4E38-8320-94F3BCA2E41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592948" y="2871216"/>
            <a:ext cx="5116452" cy="4164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EA43E1E-B208-4DC4-9D6A-01669D00DA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92948" y="4737425"/>
            <a:ext cx="3657600" cy="355601"/>
          </a:xfrm>
        </p:spPr>
        <p:txBody>
          <a:bodyPr anchor="b"/>
          <a:lstStyle>
            <a:lvl1pPr algn="l"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29" name="Text Placeholder 6">
            <a:extLst>
              <a:ext uri="{FF2B5EF4-FFF2-40B4-BE49-F238E27FC236}">
                <a16:creationId xmlns:a16="http://schemas.microsoft.com/office/drawing/2014/main" id="{2111BB8B-7B37-4FB4-B2CD-984FE1C6C5E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92948" y="5138745"/>
            <a:ext cx="3657600" cy="355601"/>
          </a:xfrm>
        </p:spPr>
        <p:txBody>
          <a:bodyPr/>
          <a:lstStyle>
            <a:lvl1pPr algn="l"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Role / Division at VMwa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68E7D54E-C753-48F7-AB43-C7A586277F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92948" y="5494345"/>
            <a:ext cx="3657600" cy="265176"/>
          </a:xfrm>
        </p:spPr>
        <p:txBody>
          <a:bodyPr/>
          <a:lstStyle>
            <a:lvl1pPr algn="l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71B1726-E7C5-4C32-A22F-BB8C0CA833E9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0AEE4566-BDD0-43EB-8593-753B4AFC53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CDDDBBBD-2B47-4F32-9507-B47217AD31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9A63A2EB-B414-427C-8975-27B69B276D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4AFD0B14-399F-447F-BBDD-FF049C867FA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0778A2AC-9D1D-4FDB-973A-47DEA98860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52873CFF-17A0-467C-B061-5E3FD5E92C7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C351EEF9-CE8C-4948-8867-FDC697419B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576FCBCF-AFA0-4D2E-AF64-919BFE9B44B8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fidential   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©2019 VMware, Inc.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3" name="Ink 2">
                <a:extLst>
                  <a:ext uri="{FF2B5EF4-FFF2-40B4-BE49-F238E27FC236}">
                    <a16:creationId xmlns:a16="http://schemas.microsoft.com/office/drawing/2014/main" id="{229416F8-1B20-4892-97FA-108F191A5885}"/>
                  </a:ext>
                </a:extLst>
              </p14:cNvPr>
              <p14:cNvContentPartPr/>
              <p14:nvPr userDrawn="1"/>
            </p14:nvContentPartPr>
            <p14:xfrm>
              <a:off x="9859593" y="4881179"/>
              <a:ext cx="240" cy="240"/>
            </p14:xfrm>
          </p:contentPart>
        </mc:Choice>
        <mc:Fallback xmlns="">
          <p:pic>
            <p:nvPicPr>
              <p:cNvPr id="3" name="Ink 2">
                <a:extLst>
                  <a:ext uri="{FF2B5EF4-FFF2-40B4-BE49-F238E27FC236}">
                    <a16:creationId xmlns:a16="http://schemas.microsoft.com/office/drawing/2014/main" id="{229416F8-1B20-4892-97FA-108F191A5885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9855513" y="4877099"/>
                <a:ext cx="7920" cy="79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461641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6" name="TextBox 755">
            <a:extLst>
              <a:ext uri="{FF2B5EF4-FFF2-40B4-BE49-F238E27FC236}">
                <a16:creationId xmlns:a16="http://schemas.microsoft.com/office/drawing/2014/main" id="{2387BAEF-04D4-4DE9-B7A0-5B5AD8C8A831}"/>
              </a:ext>
            </a:extLst>
          </p:cNvPr>
          <p:cNvSpPr txBox="1"/>
          <p:nvPr userDrawn="1"/>
        </p:nvSpPr>
        <p:spPr>
          <a:xfrm>
            <a:off x="608013" y="1261594"/>
            <a:ext cx="1933864" cy="53489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3200">
                <a:solidFill>
                  <a:schemeClr val="accent2"/>
                </a:solidFill>
                <a:latin typeface="+mj-lt"/>
              </a:rPr>
              <a:t>Agenda</a:t>
            </a:r>
          </a:p>
        </p:txBody>
      </p:sp>
      <p:sp>
        <p:nvSpPr>
          <p:cNvPr id="730" name="TextBox 729">
            <a:extLst>
              <a:ext uri="{FF2B5EF4-FFF2-40B4-BE49-F238E27FC236}">
                <a16:creationId xmlns:a16="http://schemas.microsoft.com/office/drawing/2014/main" id="{AB8D1A6B-3CE6-468D-804E-6300F8B6DC81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solidFill>
                <a:schemeClr val="tx1"/>
              </a:solidFill>
              <a:latin typeface="+mj-lt"/>
            </a:endParaRPr>
          </a:p>
        </p:txBody>
      </p:sp>
      <p:sp>
        <p:nvSpPr>
          <p:cNvPr id="16" name="Text Placeholder 757">
            <a:extLst>
              <a:ext uri="{FF2B5EF4-FFF2-40B4-BE49-F238E27FC236}">
                <a16:creationId xmlns:a16="http://schemas.microsoft.com/office/drawing/2014/main" id="{B29EB907-51A5-4D60-B03A-85DECB7627F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94013" y="1359907"/>
            <a:ext cx="7315200" cy="4322783"/>
          </a:xfrm>
        </p:spPr>
        <p:txBody>
          <a:bodyPr anchor="t"/>
          <a:lstStyle>
            <a:lvl1pPr marL="0" indent="0">
              <a:spcBef>
                <a:spcPts val="1800"/>
              </a:spcBef>
              <a:buClr>
                <a:schemeClr val="accent2"/>
              </a:buClr>
              <a:buFont typeface="Open Sans" panose="020B0606030504020204" pitchFamily="34" charset="0"/>
              <a:buChar char="​"/>
              <a:defRPr>
                <a:solidFill>
                  <a:schemeClr val="accent4"/>
                </a:solidFill>
              </a:defRPr>
            </a:lvl1pPr>
            <a:lvl2pPr marL="0" indent="0"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  <a:lvl3pPr marL="342900" indent="0">
              <a:buFont typeface="Open Sans" panose="020B0606030504020204" pitchFamily="34" charset="0"/>
              <a:buNone/>
              <a:defRPr sz="1800"/>
            </a:lvl3pPr>
            <a:lvl4pPr marL="342900" indent="0">
              <a:buFont typeface="Open Sans" panose="020B0606030504020204" pitchFamily="34" charset="0"/>
              <a:buChar char="​"/>
              <a:tabLst/>
              <a:defRPr sz="1800">
                <a:solidFill>
                  <a:schemeClr val="tx2"/>
                </a:solidFill>
              </a:defRPr>
            </a:lvl4pPr>
            <a:lvl5pPr marL="342900" indent="0">
              <a:buFont typeface="Open Sans" panose="020B0606030504020204" pitchFamily="34" charset="0"/>
              <a:buChar char="​"/>
              <a:tabLst/>
              <a:defRPr sz="1800">
                <a:solidFill>
                  <a:schemeClr val="tx2"/>
                </a:solidFill>
              </a:defRPr>
            </a:lvl5pPr>
            <a:lvl6pPr marL="342900" indent="0">
              <a:buFont typeface="Open Sans" panose="020B0606030504020204" pitchFamily="34" charset="0"/>
              <a:buChar char="​"/>
              <a:defRPr sz="1800">
                <a:solidFill>
                  <a:schemeClr val="tx2"/>
                </a:solidFill>
              </a:defRPr>
            </a:lvl6pPr>
            <a:lvl7pPr marL="342900" indent="0">
              <a:buFont typeface="Open Sans" panose="020B0606030504020204" pitchFamily="34" charset="0"/>
              <a:buChar char="​"/>
              <a:defRPr sz="1800">
                <a:solidFill>
                  <a:schemeClr val="tx2"/>
                </a:solidFill>
              </a:defRPr>
            </a:lvl7pPr>
            <a:lvl8pPr marL="342900" indent="0">
              <a:buFont typeface="Open Sans" panose="020B0606030504020204" pitchFamily="34" charset="0"/>
              <a:buChar char="​"/>
              <a:defRPr sz="1800">
                <a:solidFill>
                  <a:schemeClr val="tx2"/>
                </a:solidFill>
              </a:defRPr>
            </a:lvl8pPr>
            <a:lvl9pPr marL="342900" indent="0">
              <a:buFont typeface="Open Sans" panose="020B0606030504020204" pitchFamily="34" charset="0"/>
              <a:buChar char="​"/>
              <a:defRPr sz="18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31454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9108" y="938794"/>
            <a:ext cx="6427626" cy="1229360"/>
          </a:xfrm>
        </p:spPr>
        <p:txBody>
          <a:bodyPr wrap="square" anchor="b"/>
          <a:lstStyle>
            <a:lvl1pPr algn="l">
              <a:defRPr sz="3600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28" name="Subtitle 2">
            <a:extLst>
              <a:ext uri="{FF2B5EF4-FFF2-40B4-BE49-F238E27FC236}">
                <a16:creationId xmlns:a16="http://schemas.microsoft.com/office/drawing/2014/main" id="{6EBAFA4D-7B92-4E38-8320-94F3BCA2E41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02966" y="2270788"/>
            <a:ext cx="6408402" cy="70088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accent4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tex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E46B5F2-170B-43F3-865D-92F5CD3F3546}"/>
              </a:ext>
            </a:extLst>
          </p:cNvPr>
          <p:cNvSpPr txBox="1"/>
          <p:nvPr userDrawn="1"/>
        </p:nvSpPr>
        <p:spPr bwMode="white"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F062DFBC-6461-46E5-9A65-C2BA6B55FAA7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067657A-03A1-4F4F-AD0D-A5B15521E8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03F0FBFF-D44D-482A-B547-D551EA5D3C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9A9535C7-EA42-4FC0-BF2F-9F86B58ECC7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E775250D-8931-4334-BAE4-BDDB0695417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46FFD602-6135-4BEE-BB2A-C867FBE1FF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14A9D646-E9F0-4A52-BD9E-F04121BF45F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A919FBF8-B563-4387-B270-79EB182CF7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5B407C40-A805-4838-8B00-1B2AAC94FDCD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9428A741-FAD5-4234-862D-6AB7431CF1B6}"/>
              </a:ext>
            </a:extLst>
          </p:cNvPr>
          <p:cNvSpPr/>
          <p:nvPr userDrawn="1"/>
        </p:nvSpPr>
        <p:spPr>
          <a:xfrm rot="2700000">
            <a:off x="7247491" y="-1003602"/>
            <a:ext cx="3505682" cy="10673146"/>
          </a:xfrm>
          <a:custGeom>
            <a:avLst/>
            <a:gdLst>
              <a:gd name="connsiteX0" fmla="*/ 0 w 3505682"/>
              <a:gd name="connsiteY0" fmla="*/ 925479 h 10673146"/>
              <a:gd name="connsiteX1" fmla="*/ 925478 w 3505682"/>
              <a:gd name="connsiteY1" fmla="*/ 0 h 10673146"/>
              <a:gd name="connsiteX2" fmla="*/ 3505682 w 3505682"/>
              <a:gd name="connsiteY2" fmla="*/ 2580205 h 10673146"/>
              <a:gd name="connsiteX3" fmla="*/ 3505682 w 3505682"/>
              <a:gd name="connsiteY3" fmla="*/ 7167464 h 10673146"/>
              <a:gd name="connsiteX4" fmla="*/ 0 w 3505682"/>
              <a:gd name="connsiteY4" fmla="*/ 10673146 h 10673146"/>
              <a:gd name="connsiteX5" fmla="*/ 0 w 3505682"/>
              <a:gd name="connsiteY5" fmla="*/ 925479 h 10673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05682" h="10673146">
                <a:moveTo>
                  <a:pt x="0" y="925479"/>
                </a:moveTo>
                <a:lnTo>
                  <a:pt x="925478" y="0"/>
                </a:lnTo>
                <a:lnTo>
                  <a:pt x="3505682" y="2580205"/>
                </a:lnTo>
                <a:lnTo>
                  <a:pt x="3505682" y="7167464"/>
                </a:lnTo>
                <a:lnTo>
                  <a:pt x="0" y="10673146"/>
                </a:lnTo>
                <a:lnTo>
                  <a:pt x="0" y="925479"/>
                </a:lnTo>
                <a:close/>
              </a:path>
            </a:pathLst>
          </a:custGeom>
          <a:gradFill>
            <a:gsLst>
              <a:gs pos="24000">
                <a:schemeClr val="accent4"/>
              </a:gs>
              <a:gs pos="87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8D3A6683-B1EA-4507-96A9-030793602B44}"/>
              </a:ext>
            </a:extLst>
          </p:cNvPr>
          <p:cNvSpPr/>
          <p:nvPr userDrawn="1"/>
        </p:nvSpPr>
        <p:spPr>
          <a:xfrm rot="2700000">
            <a:off x="9753830" y="1674737"/>
            <a:ext cx="970552" cy="6485190"/>
          </a:xfrm>
          <a:custGeom>
            <a:avLst/>
            <a:gdLst>
              <a:gd name="connsiteX0" fmla="*/ 1 w 970552"/>
              <a:gd name="connsiteY0" fmla="*/ 0 h 6485190"/>
              <a:gd name="connsiteX1" fmla="*/ 970552 w 970552"/>
              <a:gd name="connsiteY1" fmla="*/ 970551 h 6485190"/>
              <a:gd name="connsiteX2" fmla="*/ 970552 w 970552"/>
              <a:gd name="connsiteY2" fmla="*/ 5514638 h 6485190"/>
              <a:gd name="connsiteX3" fmla="*/ 0 w 970552"/>
              <a:gd name="connsiteY3" fmla="*/ 6485190 h 64851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0552" h="6485190">
                <a:moveTo>
                  <a:pt x="1" y="0"/>
                </a:moveTo>
                <a:lnTo>
                  <a:pt x="970552" y="970551"/>
                </a:lnTo>
                <a:lnTo>
                  <a:pt x="970552" y="5514638"/>
                </a:lnTo>
                <a:lnTo>
                  <a:pt x="0" y="6485190"/>
                </a:lnTo>
                <a:close/>
              </a:path>
            </a:pathLst>
          </a:custGeom>
          <a:gradFill>
            <a:gsLst>
              <a:gs pos="94000">
                <a:schemeClr val="bg1"/>
              </a:gs>
              <a:gs pos="16000">
                <a:schemeClr val="accent4"/>
              </a:gs>
              <a:gs pos="76000">
                <a:schemeClr val="bg1">
                  <a:alpha val="91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4903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– Plu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9108" y="938794"/>
            <a:ext cx="6427626" cy="1229360"/>
          </a:xfrm>
        </p:spPr>
        <p:txBody>
          <a:bodyPr wrap="square" anchor="b"/>
          <a:lstStyle>
            <a:lvl1pPr algn="l">
              <a:defRPr sz="3600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28" name="Subtitle 2">
            <a:extLst>
              <a:ext uri="{FF2B5EF4-FFF2-40B4-BE49-F238E27FC236}">
                <a16:creationId xmlns:a16="http://schemas.microsoft.com/office/drawing/2014/main" id="{6EBAFA4D-7B92-4E38-8320-94F3BCA2E41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02966" y="2267712"/>
            <a:ext cx="6408402" cy="70088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tex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E46B5F2-170B-43F3-865D-92F5CD3F3546}"/>
              </a:ext>
            </a:extLst>
          </p:cNvPr>
          <p:cNvSpPr txBox="1"/>
          <p:nvPr userDrawn="1"/>
        </p:nvSpPr>
        <p:spPr bwMode="white"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F062DFBC-6461-46E5-9A65-C2BA6B55FAA7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067657A-03A1-4F4F-AD0D-A5B15521E8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03F0FBFF-D44D-482A-B547-D551EA5D3C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9A9535C7-EA42-4FC0-BF2F-9F86B58ECC7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E775250D-8931-4334-BAE4-BDDB0695417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46FFD602-6135-4BEE-BB2A-C867FBE1FF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14A9D646-E9F0-4A52-BD9E-F04121BF45F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A919FBF8-B563-4387-B270-79EB182CF7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5B407C40-A805-4838-8B00-1B2AAC94FDCD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9428A741-FAD5-4234-862D-6AB7431CF1B6}"/>
              </a:ext>
            </a:extLst>
          </p:cNvPr>
          <p:cNvSpPr/>
          <p:nvPr userDrawn="1"/>
        </p:nvSpPr>
        <p:spPr>
          <a:xfrm rot="2700000">
            <a:off x="7247491" y="-1003602"/>
            <a:ext cx="3505682" cy="10673146"/>
          </a:xfrm>
          <a:custGeom>
            <a:avLst/>
            <a:gdLst>
              <a:gd name="connsiteX0" fmla="*/ 0 w 3505682"/>
              <a:gd name="connsiteY0" fmla="*/ 925479 h 10673146"/>
              <a:gd name="connsiteX1" fmla="*/ 925478 w 3505682"/>
              <a:gd name="connsiteY1" fmla="*/ 0 h 10673146"/>
              <a:gd name="connsiteX2" fmla="*/ 3505682 w 3505682"/>
              <a:gd name="connsiteY2" fmla="*/ 2580205 h 10673146"/>
              <a:gd name="connsiteX3" fmla="*/ 3505682 w 3505682"/>
              <a:gd name="connsiteY3" fmla="*/ 7167464 h 10673146"/>
              <a:gd name="connsiteX4" fmla="*/ 0 w 3505682"/>
              <a:gd name="connsiteY4" fmla="*/ 10673146 h 10673146"/>
              <a:gd name="connsiteX5" fmla="*/ 0 w 3505682"/>
              <a:gd name="connsiteY5" fmla="*/ 925479 h 10673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05682" h="10673146">
                <a:moveTo>
                  <a:pt x="0" y="925479"/>
                </a:moveTo>
                <a:lnTo>
                  <a:pt x="925478" y="0"/>
                </a:lnTo>
                <a:lnTo>
                  <a:pt x="3505682" y="2580205"/>
                </a:lnTo>
                <a:lnTo>
                  <a:pt x="3505682" y="7167464"/>
                </a:lnTo>
                <a:lnTo>
                  <a:pt x="0" y="10673146"/>
                </a:lnTo>
                <a:lnTo>
                  <a:pt x="0" y="925479"/>
                </a:lnTo>
                <a:close/>
              </a:path>
            </a:pathLst>
          </a:custGeom>
          <a:gradFill>
            <a:gsLst>
              <a:gs pos="24000">
                <a:srgbClr val="7F35AB"/>
              </a:gs>
              <a:gs pos="87000">
                <a:srgbClr val="264088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8D3A6683-B1EA-4507-96A9-030793602B44}"/>
              </a:ext>
            </a:extLst>
          </p:cNvPr>
          <p:cNvSpPr/>
          <p:nvPr userDrawn="1"/>
        </p:nvSpPr>
        <p:spPr>
          <a:xfrm rot="2700000">
            <a:off x="9753830" y="1674737"/>
            <a:ext cx="970552" cy="6485190"/>
          </a:xfrm>
          <a:custGeom>
            <a:avLst/>
            <a:gdLst>
              <a:gd name="connsiteX0" fmla="*/ 1 w 970552"/>
              <a:gd name="connsiteY0" fmla="*/ 0 h 6485190"/>
              <a:gd name="connsiteX1" fmla="*/ 970552 w 970552"/>
              <a:gd name="connsiteY1" fmla="*/ 970551 h 6485190"/>
              <a:gd name="connsiteX2" fmla="*/ 970552 w 970552"/>
              <a:gd name="connsiteY2" fmla="*/ 5514638 h 6485190"/>
              <a:gd name="connsiteX3" fmla="*/ 0 w 970552"/>
              <a:gd name="connsiteY3" fmla="*/ 6485190 h 64851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0552" h="6485190">
                <a:moveTo>
                  <a:pt x="1" y="0"/>
                </a:moveTo>
                <a:lnTo>
                  <a:pt x="970552" y="970551"/>
                </a:lnTo>
                <a:lnTo>
                  <a:pt x="970552" y="5514638"/>
                </a:lnTo>
                <a:lnTo>
                  <a:pt x="0" y="6485190"/>
                </a:lnTo>
                <a:close/>
              </a:path>
            </a:pathLst>
          </a:custGeom>
          <a:gradFill>
            <a:gsLst>
              <a:gs pos="20000">
                <a:srgbClr val="7F35AB"/>
              </a:gs>
              <a:gs pos="95000">
                <a:schemeClr val="bg1"/>
              </a:gs>
              <a:gs pos="74000">
                <a:schemeClr val="bg1">
                  <a:alpha val="79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0826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–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9108" y="938794"/>
            <a:ext cx="6427626" cy="1229360"/>
          </a:xfrm>
        </p:spPr>
        <p:txBody>
          <a:bodyPr wrap="square" anchor="b"/>
          <a:lstStyle>
            <a:lvl1pPr algn="l">
              <a:defRPr sz="3600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28" name="Subtitle 2">
            <a:extLst>
              <a:ext uri="{FF2B5EF4-FFF2-40B4-BE49-F238E27FC236}">
                <a16:creationId xmlns:a16="http://schemas.microsoft.com/office/drawing/2014/main" id="{6EBAFA4D-7B92-4E38-8320-94F3BCA2E41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02966" y="2267712"/>
            <a:ext cx="6408402" cy="70088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tex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E46B5F2-170B-43F3-865D-92F5CD3F3546}"/>
              </a:ext>
            </a:extLst>
          </p:cNvPr>
          <p:cNvSpPr txBox="1"/>
          <p:nvPr userDrawn="1"/>
        </p:nvSpPr>
        <p:spPr bwMode="white"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F062DFBC-6461-46E5-9A65-C2BA6B55FAA7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067657A-03A1-4F4F-AD0D-A5B15521E8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03F0FBFF-D44D-482A-B547-D551EA5D3C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9A9535C7-EA42-4FC0-BF2F-9F86B58ECC7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E775250D-8931-4334-BAE4-BDDB0695417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46FFD602-6135-4BEE-BB2A-C867FBE1FF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14A9D646-E9F0-4A52-BD9E-F04121BF45F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A919FBF8-B563-4387-B270-79EB182CF7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5B407C40-A805-4838-8B00-1B2AAC94FDCD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9428A741-FAD5-4234-862D-6AB7431CF1B6}"/>
              </a:ext>
            </a:extLst>
          </p:cNvPr>
          <p:cNvSpPr/>
          <p:nvPr userDrawn="1"/>
        </p:nvSpPr>
        <p:spPr>
          <a:xfrm rot="2700000">
            <a:off x="7247491" y="-1003602"/>
            <a:ext cx="3505682" cy="10673146"/>
          </a:xfrm>
          <a:custGeom>
            <a:avLst/>
            <a:gdLst>
              <a:gd name="connsiteX0" fmla="*/ 0 w 3505682"/>
              <a:gd name="connsiteY0" fmla="*/ 925479 h 10673146"/>
              <a:gd name="connsiteX1" fmla="*/ 925478 w 3505682"/>
              <a:gd name="connsiteY1" fmla="*/ 0 h 10673146"/>
              <a:gd name="connsiteX2" fmla="*/ 3505682 w 3505682"/>
              <a:gd name="connsiteY2" fmla="*/ 2580205 h 10673146"/>
              <a:gd name="connsiteX3" fmla="*/ 3505682 w 3505682"/>
              <a:gd name="connsiteY3" fmla="*/ 7167464 h 10673146"/>
              <a:gd name="connsiteX4" fmla="*/ 0 w 3505682"/>
              <a:gd name="connsiteY4" fmla="*/ 10673146 h 10673146"/>
              <a:gd name="connsiteX5" fmla="*/ 0 w 3505682"/>
              <a:gd name="connsiteY5" fmla="*/ 925479 h 10673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05682" h="10673146">
                <a:moveTo>
                  <a:pt x="0" y="925479"/>
                </a:moveTo>
                <a:lnTo>
                  <a:pt x="925478" y="0"/>
                </a:lnTo>
                <a:lnTo>
                  <a:pt x="3505682" y="2580205"/>
                </a:lnTo>
                <a:lnTo>
                  <a:pt x="3505682" y="7167464"/>
                </a:lnTo>
                <a:lnTo>
                  <a:pt x="0" y="10673146"/>
                </a:lnTo>
                <a:lnTo>
                  <a:pt x="0" y="925479"/>
                </a:lnTo>
                <a:close/>
              </a:path>
            </a:pathLst>
          </a:custGeom>
          <a:gradFill>
            <a:gsLst>
              <a:gs pos="24000">
                <a:schemeClr val="accent3"/>
              </a:gs>
              <a:gs pos="87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8D3A6683-B1EA-4507-96A9-030793602B44}"/>
              </a:ext>
            </a:extLst>
          </p:cNvPr>
          <p:cNvSpPr/>
          <p:nvPr userDrawn="1"/>
        </p:nvSpPr>
        <p:spPr>
          <a:xfrm rot="2700000">
            <a:off x="9753830" y="1674737"/>
            <a:ext cx="970552" cy="6485190"/>
          </a:xfrm>
          <a:custGeom>
            <a:avLst/>
            <a:gdLst>
              <a:gd name="connsiteX0" fmla="*/ 1 w 970552"/>
              <a:gd name="connsiteY0" fmla="*/ 0 h 6485190"/>
              <a:gd name="connsiteX1" fmla="*/ 970552 w 970552"/>
              <a:gd name="connsiteY1" fmla="*/ 970551 h 6485190"/>
              <a:gd name="connsiteX2" fmla="*/ 970552 w 970552"/>
              <a:gd name="connsiteY2" fmla="*/ 5514638 h 6485190"/>
              <a:gd name="connsiteX3" fmla="*/ 0 w 970552"/>
              <a:gd name="connsiteY3" fmla="*/ 6485190 h 64851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0552" h="6485190">
                <a:moveTo>
                  <a:pt x="1" y="0"/>
                </a:moveTo>
                <a:lnTo>
                  <a:pt x="970552" y="970551"/>
                </a:lnTo>
                <a:lnTo>
                  <a:pt x="970552" y="5514638"/>
                </a:lnTo>
                <a:lnTo>
                  <a:pt x="0" y="6485190"/>
                </a:lnTo>
                <a:close/>
              </a:path>
            </a:pathLst>
          </a:custGeom>
          <a:gradFill>
            <a:gsLst>
              <a:gs pos="24000">
                <a:schemeClr val="accent3"/>
              </a:gs>
              <a:gs pos="80511">
                <a:schemeClr val="bg1">
                  <a:alpha val="76000"/>
                </a:schemeClr>
              </a:gs>
              <a:gs pos="100000">
                <a:schemeClr val="bg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3231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Phot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sosceles Triangle 1">
            <a:extLst>
              <a:ext uri="{FF2B5EF4-FFF2-40B4-BE49-F238E27FC236}">
                <a16:creationId xmlns:a16="http://schemas.microsoft.com/office/drawing/2014/main" id="{B4BC3A27-8DAD-4476-9725-CF11880123D8}"/>
              </a:ext>
            </a:extLst>
          </p:cNvPr>
          <p:cNvSpPr/>
          <p:nvPr userDrawn="1"/>
        </p:nvSpPr>
        <p:spPr>
          <a:xfrm>
            <a:off x="8943276" y="3622876"/>
            <a:ext cx="3251263" cy="3253579"/>
          </a:xfrm>
          <a:prstGeom prst="triangle">
            <a:avLst>
              <a:gd name="adj" fmla="val 10000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046FCD12-70AD-43E4-97A5-E350476D993C}"/>
              </a:ext>
            </a:extLst>
          </p:cNvPr>
          <p:cNvSpPr/>
          <p:nvPr userDrawn="1"/>
        </p:nvSpPr>
        <p:spPr>
          <a:xfrm rot="10800000">
            <a:off x="-1" y="-1"/>
            <a:ext cx="10873127" cy="6868836"/>
          </a:xfrm>
          <a:custGeom>
            <a:avLst/>
            <a:gdLst>
              <a:gd name="connsiteX0" fmla="*/ 10873127 w 10873127"/>
              <a:gd name="connsiteY0" fmla="*/ 6868836 h 6868836"/>
              <a:gd name="connsiteX1" fmla="*/ 0 w 10873127"/>
              <a:gd name="connsiteY1" fmla="*/ 6868836 h 6868836"/>
              <a:gd name="connsiteX2" fmla="*/ 6863947 w 10873127"/>
              <a:gd name="connsiteY2" fmla="*/ 0 h 6868836"/>
              <a:gd name="connsiteX3" fmla="*/ 10873127 w 10873127"/>
              <a:gd name="connsiteY3" fmla="*/ 0 h 6868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873127" h="6868836">
                <a:moveTo>
                  <a:pt x="10873127" y="6868836"/>
                </a:moveTo>
                <a:lnTo>
                  <a:pt x="0" y="6868836"/>
                </a:lnTo>
                <a:lnTo>
                  <a:pt x="6863947" y="0"/>
                </a:lnTo>
                <a:lnTo>
                  <a:pt x="10873127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EAC21F4-620C-4207-A01D-C082619C707B}"/>
              </a:ext>
            </a:extLst>
          </p:cNvPr>
          <p:cNvSpPr txBox="1"/>
          <p:nvPr userDrawn="1"/>
        </p:nvSpPr>
        <p:spPr bwMode="white"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solidFill>
                <a:schemeClr val="tx1"/>
              </a:solidFill>
              <a:latin typeface="+mj-lt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AC6091C-E947-4C0C-85B0-C87C084ACB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9108" y="938794"/>
            <a:ext cx="6427626" cy="1229360"/>
          </a:xfrm>
        </p:spPr>
        <p:txBody>
          <a:bodyPr wrap="square" anchor="b"/>
          <a:lstStyle>
            <a:lvl1pPr algn="l">
              <a:defRPr sz="3600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A2044BBD-0109-43FF-A52D-8FA2841A4DF6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02966" y="2267712"/>
            <a:ext cx="6408402" cy="70088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accent4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text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D0EECB4-F8FF-42F6-B913-97C4F2956537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A2743E06-9EDE-42AB-954B-24AD2E0EDE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F727B63B-9DDF-4464-B305-91E2F1F53A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BE99358C-EF1D-4887-8E23-C6B6EFECC05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AB115210-A643-4048-8CE2-AE858AA6D28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DADAB024-3024-4445-96A4-008D5EBBB3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8C49FA45-007B-4A99-BFB8-737C3A292BE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6" name="Freeform 12">
              <a:extLst>
                <a:ext uri="{FF2B5EF4-FFF2-40B4-BE49-F238E27FC236}">
                  <a16:creationId xmlns:a16="http://schemas.microsoft.com/office/drawing/2014/main" id="{6AD6968C-6030-4061-9BA9-3E345BE073B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9267F80E-E3AF-43A3-AA96-C701371ACCD5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C7F4685D-9D09-447C-9352-68EBB79D3FB6}"/>
              </a:ext>
            </a:extLst>
          </p:cNvPr>
          <p:cNvSpPr/>
          <p:nvPr userDrawn="1"/>
        </p:nvSpPr>
        <p:spPr>
          <a:xfrm rot="2700000">
            <a:off x="9037252" y="3334944"/>
            <a:ext cx="970552" cy="4540137"/>
          </a:xfrm>
          <a:custGeom>
            <a:avLst/>
            <a:gdLst>
              <a:gd name="connsiteX0" fmla="*/ 1 w 970552"/>
              <a:gd name="connsiteY0" fmla="*/ 970551 h 4540137"/>
              <a:gd name="connsiteX1" fmla="*/ 970552 w 970552"/>
              <a:gd name="connsiteY1" fmla="*/ 0 h 4540137"/>
              <a:gd name="connsiteX2" fmla="*/ 970552 w 970552"/>
              <a:gd name="connsiteY2" fmla="*/ 3569585 h 4540137"/>
              <a:gd name="connsiteX3" fmla="*/ 0 w 970552"/>
              <a:gd name="connsiteY3" fmla="*/ 4540137 h 4540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0552" h="4540137">
                <a:moveTo>
                  <a:pt x="1" y="970551"/>
                </a:moveTo>
                <a:lnTo>
                  <a:pt x="970552" y="0"/>
                </a:lnTo>
                <a:lnTo>
                  <a:pt x="970552" y="3569585"/>
                </a:lnTo>
                <a:lnTo>
                  <a:pt x="0" y="4540137"/>
                </a:lnTo>
                <a:close/>
              </a:path>
            </a:pathLst>
          </a:custGeom>
          <a:gradFill>
            <a:gsLst>
              <a:gs pos="0">
                <a:schemeClr val="accent4">
                  <a:alpha val="64000"/>
                </a:schemeClr>
              </a:gs>
              <a:gs pos="83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3613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Photo – Plum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046FCD12-70AD-43E4-97A5-E350476D993C}"/>
              </a:ext>
            </a:extLst>
          </p:cNvPr>
          <p:cNvSpPr/>
          <p:nvPr userDrawn="1"/>
        </p:nvSpPr>
        <p:spPr>
          <a:xfrm rot="10800000">
            <a:off x="-1" y="-1"/>
            <a:ext cx="10873127" cy="6868836"/>
          </a:xfrm>
          <a:custGeom>
            <a:avLst/>
            <a:gdLst>
              <a:gd name="connsiteX0" fmla="*/ 10873127 w 10873127"/>
              <a:gd name="connsiteY0" fmla="*/ 6868836 h 6868836"/>
              <a:gd name="connsiteX1" fmla="*/ 0 w 10873127"/>
              <a:gd name="connsiteY1" fmla="*/ 6868836 h 6868836"/>
              <a:gd name="connsiteX2" fmla="*/ 6863947 w 10873127"/>
              <a:gd name="connsiteY2" fmla="*/ 0 h 6868836"/>
              <a:gd name="connsiteX3" fmla="*/ 10873127 w 10873127"/>
              <a:gd name="connsiteY3" fmla="*/ 0 h 6868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873127" h="6868836">
                <a:moveTo>
                  <a:pt x="10873127" y="6868836"/>
                </a:moveTo>
                <a:lnTo>
                  <a:pt x="0" y="6868836"/>
                </a:lnTo>
                <a:lnTo>
                  <a:pt x="6863947" y="0"/>
                </a:lnTo>
                <a:lnTo>
                  <a:pt x="10873127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AC6091C-E947-4C0C-85B0-C87C084ACB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9108" y="938794"/>
            <a:ext cx="6427626" cy="1229360"/>
          </a:xfrm>
        </p:spPr>
        <p:txBody>
          <a:bodyPr wrap="square" anchor="b"/>
          <a:lstStyle>
            <a:lvl1pPr algn="l">
              <a:defRPr sz="3600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A2044BBD-0109-43FF-A52D-8FA2841A4DF6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02966" y="2267712"/>
            <a:ext cx="6408402" cy="70088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text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D0EECB4-F8FF-42F6-B913-97C4F2956537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A2743E06-9EDE-42AB-954B-24AD2E0EDE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F727B63B-9DDF-4464-B305-91E2F1F53A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BE99358C-EF1D-4887-8E23-C6B6EFECC05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AB115210-A643-4048-8CE2-AE858AA6D28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DADAB024-3024-4445-96A4-008D5EBBB3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8C49FA45-007B-4A99-BFB8-737C3A292BE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6" name="Freeform 12">
              <a:extLst>
                <a:ext uri="{FF2B5EF4-FFF2-40B4-BE49-F238E27FC236}">
                  <a16:creationId xmlns:a16="http://schemas.microsoft.com/office/drawing/2014/main" id="{6AD6968C-6030-4061-9BA9-3E345BE073B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9267F80E-E3AF-43A3-AA96-C701371ACCD5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1B9CF672-C886-4A4A-B8C7-6054BDA7C6F8}"/>
              </a:ext>
            </a:extLst>
          </p:cNvPr>
          <p:cNvSpPr/>
          <p:nvPr userDrawn="1"/>
        </p:nvSpPr>
        <p:spPr>
          <a:xfrm>
            <a:off x="8943276" y="3622876"/>
            <a:ext cx="3251263" cy="3253579"/>
          </a:xfrm>
          <a:prstGeom prst="triangle">
            <a:avLst>
              <a:gd name="adj" fmla="val 10000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279CBF5F-64CA-43B4-BB06-18EC3F20B58A}"/>
              </a:ext>
            </a:extLst>
          </p:cNvPr>
          <p:cNvSpPr/>
          <p:nvPr userDrawn="1"/>
        </p:nvSpPr>
        <p:spPr>
          <a:xfrm rot="2700000">
            <a:off x="9037252" y="3334944"/>
            <a:ext cx="970552" cy="4540137"/>
          </a:xfrm>
          <a:custGeom>
            <a:avLst/>
            <a:gdLst>
              <a:gd name="connsiteX0" fmla="*/ 1 w 970552"/>
              <a:gd name="connsiteY0" fmla="*/ 970551 h 4540137"/>
              <a:gd name="connsiteX1" fmla="*/ 970552 w 970552"/>
              <a:gd name="connsiteY1" fmla="*/ 0 h 4540137"/>
              <a:gd name="connsiteX2" fmla="*/ 970552 w 970552"/>
              <a:gd name="connsiteY2" fmla="*/ 3569585 h 4540137"/>
              <a:gd name="connsiteX3" fmla="*/ 0 w 970552"/>
              <a:gd name="connsiteY3" fmla="*/ 4540137 h 4540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0552" h="4540137">
                <a:moveTo>
                  <a:pt x="1" y="970551"/>
                </a:moveTo>
                <a:lnTo>
                  <a:pt x="970552" y="0"/>
                </a:lnTo>
                <a:lnTo>
                  <a:pt x="970552" y="3569585"/>
                </a:lnTo>
                <a:lnTo>
                  <a:pt x="0" y="4540137"/>
                </a:lnTo>
                <a:close/>
              </a:path>
            </a:pathLst>
          </a:custGeom>
          <a:gradFill>
            <a:gsLst>
              <a:gs pos="24000">
                <a:srgbClr val="7F35AB">
                  <a:alpha val="57000"/>
                </a:srgbClr>
              </a:gs>
              <a:gs pos="87000">
                <a:srgbClr val="264088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EAC21F4-620C-4207-A01D-C082619C707B}"/>
              </a:ext>
            </a:extLst>
          </p:cNvPr>
          <p:cNvSpPr txBox="1"/>
          <p:nvPr userDrawn="1"/>
        </p:nvSpPr>
        <p:spPr bwMode="white"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667930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Photo – Aqu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3782B963-3DE7-4086-92ED-CD92BCC38428}"/>
              </a:ext>
            </a:extLst>
          </p:cNvPr>
          <p:cNvSpPr/>
          <p:nvPr userDrawn="1"/>
        </p:nvSpPr>
        <p:spPr>
          <a:xfrm>
            <a:off x="8943276" y="3622876"/>
            <a:ext cx="3251263" cy="3253579"/>
          </a:xfrm>
          <a:prstGeom prst="triangle">
            <a:avLst>
              <a:gd name="adj" fmla="val 10000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B634BC28-ECEA-4006-A436-B22F54417FE9}"/>
              </a:ext>
            </a:extLst>
          </p:cNvPr>
          <p:cNvSpPr/>
          <p:nvPr userDrawn="1"/>
        </p:nvSpPr>
        <p:spPr>
          <a:xfrm rot="2700000">
            <a:off x="9037252" y="3334944"/>
            <a:ext cx="970552" cy="4540137"/>
          </a:xfrm>
          <a:custGeom>
            <a:avLst/>
            <a:gdLst>
              <a:gd name="connsiteX0" fmla="*/ 1 w 970552"/>
              <a:gd name="connsiteY0" fmla="*/ 970551 h 4540137"/>
              <a:gd name="connsiteX1" fmla="*/ 970552 w 970552"/>
              <a:gd name="connsiteY1" fmla="*/ 0 h 4540137"/>
              <a:gd name="connsiteX2" fmla="*/ 970552 w 970552"/>
              <a:gd name="connsiteY2" fmla="*/ 3569585 h 4540137"/>
              <a:gd name="connsiteX3" fmla="*/ 0 w 970552"/>
              <a:gd name="connsiteY3" fmla="*/ 4540137 h 4540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0552" h="4540137">
                <a:moveTo>
                  <a:pt x="1" y="970551"/>
                </a:moveTo>
                <a:lnTo>
                  <a:pt x="970552" y="0"/>
                </a:lnTo>
                <a:lnTo>
                  <a:pt x="970552" y="3569585"/>
                </a:lnTo>
                <a:lnTo>
                  <a:pt x="0" y="4540137"/>
                </a:lnTo>
                <a:close/>
              </a:path>
            </a:pathLst>
          </a:custGeom>
          <a:gradFill>
            <a:gsLst>
              <a:gs pos="24000">
                <a:schemeClr val="accent3">
                  <a:alpha val="40000"/>
                </a:schemeClr>
              </a:gs>
              <a:gs pos="87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046FCD12-70AD-43E4-97A5-E350476D993C}"/>
              </a:ext>
            </a:extLst>
          </p:cNvPr>
          <p:cNvSpPr/>
          <p:nvPr userDrawn="1"/>
        </p:nvSpPr>
        <p:spPr>
          <a:xfrm rot="10800000">
            <a:off x="-1" y="-1"/>
            <a:ext cx="10873127" cy="6868836"/>
          </a:xfrm>
          <a:custGeom>
            <a:avLst/>
            <a:gdLst>
              <a:gd name="connsiteX0" fmla="*/ 10873127 w 10873127"/>
              <a:gd name="connsiteY0" fmla="*/ 6868836 h 6868836"/>
              <a:gd name="connsiteX1" fmla="*/ 0 w 10873127"/>
              <a:gd name="connsiteY1" fmla="*/ 6868836 h 6868836"/>
              <a:gd name="connsiteX2" fmla="*/ 6863947 w 10873127"/>
              <a:gd name="connsiteY2" fmla="*/ 0 h 6868836"/>
              <a:gd name="connsiteX3" fmla="*/ 10873127 w 10873127"/>
              <a:gd name="connsiteY3" fmla="*/ 0 h 6868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873127" h="6868836">
                <a:moveTo>
                  <a:pt x="10873127" y="6868836"/>
                </a:moveTo>
                <a:lnTo>
                  <a:pt x="0" y="6868836"/>
                </a:lnTo>
                <a:lnTo>
                  <a:pt x="6863947" y="0"/>
                </a:lnTo>
                <a:lnTo>
                  <a:pt x="10873127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EAC21F4-620C-4207-A01D-C082619C707B}"/>
              </a:ext>
            </a:extLst>
          </p:cNvPr>
          <p:cNvSpPr txBox="1"/>
          <p:nvPr userDrawn="1"/>
        </p:nvSpPr>
        <p:spPr bwMode="white"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solidFill>
                <a:schemeClr val="tx1"/>
              </a:solidFill>
              <a:latin typeface="+mj-lt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AC6091C-E947-4C0C-85B0-C87C084ACB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9108" y="938794"/>
            <a:ext cx="6427626" cy="1229360"/>
          </a:xfrm>
        </p:spPr>
        <p:txBody>
          <a:bodyPr wrap="square" anchor="b"/>
          <a:lstStyle>
            <a:lvl1pPr algn="l">
              <a:defRPr sz="3600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A2044BBD-0109-43FF-A52D-8FA2841A4DF6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02966" y="2267712"/>
            <a:ext cx="6408402" cy="70088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text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D0EECB4-F8FF-42F6-B913-97C4F2956537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A2743E06-9EDE-42AB-954B-24AD2E0EDE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F727B63B-9DDF-4464-B305-91E2F1F53A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BE99358C-EF1D-4887-8E23-C6B6EFECC05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AB115210-A643-4048-8CE2-AE858AA6D28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DADAB024-3024-4445-96A4-008D5EBBB3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8C49FA45-007B-4A99-BFB8-737C3A292BE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6" name="Freeform 12">
              <a:extLst>
                <a:ext uri="{FF2B5EF4-FFF2-40B4-BE49-F238E27FC236}">
                  <a16:creationId xmlns:a16="http://schemas.microsoft.com/office/drawing/2014/main" id="{6AD6968C-6030-4061-9BA9-3E345BE073B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9267F80E-E3AF-43A3-AA96-C701371ACCD5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</p:spTree>
    <p:extLst>
      <p:ext uri="{BB962C8B-B14F-4D97-AF65-F5344CB8AC3E}">
        <p14:creationId xmlns:p14="http://schemas.microsoft.com/office/powerpoint/2010/main" val="1489498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D034FA3F-D529-4D8B-B6EC-A8341FCAF67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1" y="1600201"/>
            <a:ext cx="5866360" cy="4572000"/>
          </a:xfrm>
          <a:solidFill>
            <a:schemeClr val="bg2"/>
          </a:solidFill>
        </p:spPr>
        <p:txBody>
          <a:bodyPr lIns="594360" tIns="1371600" rIns="548640"/>
          <a:lstStyle>
            <a:lvl1pPr>
              <a:spcBef>
                <a:spcPts val="2400"/>
              </a:spcBef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400"/>
            </a:lvl7pPr>
            <a:lvl8pPr>
              <a:defRPr sz="1200"/>
            </a:lvl8pPr>
            <a:lvl9pPr>
              <a:defRPr sz="18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sp>
        <p:nvSpPr>
          <p:cNvPr id="72" name="Content Placeholder 17">
            <a:extLst>
              <a:ext uri="{FF2B5EF4-FFF2-40B4-BE49-F238E27FC236}">
                <a16:creationId xmlns:a16="http://schemas.microsoft.com/office/drawing/2014/main" id="{A0456ED3-FDC5-4E29-B939-E35EA08477CA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 bwMode="gray">
          <a:xfrm>
            <a:off x="6323381" y="1600201"/>
            <a:ext cx="5865445" cy="4572000"/>
          </a:xfrm>
          <a:solidFill>
            <a:schemeClr val="bg2"/>
          </a:solidFill>
        </p:spPr>
        <p:txBody>
          <a:bodyPr lIns="548640" tIns="1371600" rIns="548640"/>
          <a:lstStyle>
            <a:lvl1pPr>
              <a:spcBef>
                <a:spcPts val="2400"/>
              </a:spcBef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400"/>
            </a:lvl7pPr>
            <a:lvl8pPr>
              <a:defRPr sz="1200"/>
            </a:lvl8pPr>
            <a:lvl9pPr>
              <a:defRPr sz="18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 Seventh level</a:t>
            </a:r>
          </a:p>
          <a:p>
            <a:pPr lvl="7"/>
            <a:r>
              <a:rPr lang="en-US" dirty="0"/>
              <a:t> 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8337636-71A7-4831-B382-F842B3A2949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0" y="1806122"/>
            <a:ext cx="5637213" cy="911225"/>
          </a:xfrm>
          <a:solidFill>
            <a:schemeClr val="accent4"/>
          </a:solidFill>
        </p:spPr>
        <p:txBody>
          <a:bodyPr vert="horz" lIns="594360" tIns="91440" rIns="457200" bIns="91440" rtlCol="0" anchor="ctr">
            <a:noAutofit/>
          </a:bodyPr>
          <a:lstStyle>
            <a:lvl1pPr>
              <a:defRPr lang="en-US"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header 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78A74DE7-78E3-4ECA-9661-D73FBD37E48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551613" y="1806122"/>
            <a:ext cx="5637212" cy="911225"/>
          </a:xfrm>
          <a:solidFill>
            <a:schemeClr val="accent1"/>
          </a:solidFill>
        </p:spPr>
        <p:txBody>
          <a:bodyPr vert="horz" lIns="338328" tIns="91440" rIns="612648" bIns="91440" rtlCol="0" anchor="ctr">
            <a:noAutofit/>
          </a:bodyPr>
          <a:lstStyle>
            <a:lvl1pPr>
              <a:defRPr lang="en-US"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header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92176E5-FE3D-4EA5-BF24-8ABF8BFBF668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dirty="0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6A1FE0B-90B1-4BED-9AA5-6DC9F6424E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One Line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541C7AA-97CA-4F96-9506-F144DA2CD8E2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103813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Photo – Whi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77AF2AD3-F838-49C6-9DFB-93814BFCCBA6}"/>
              </a:ext>
            </a:extLst>
          </p:cNvPr>
          <p:cNvSpPr/>
          <p:nvPr userDrawn="1"/>
        </p:nvSpPr>
        <p:spPr>
          <a:xfrm>
            <a:off x="8943276" y="3622876"/>
            <a:ext cx="3251263" cy="3253579"/>
          </a:xfrm>
          <a:prstGeom prst="triangle">
            <a:avLst>
              <a:gd name="adj" fmla="val 10000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E385DDA8-6A1A-4BC0-A877-A6124E4A0330}"/>
              </a:ext>
            </a:extLst>
          </p:cNvPr>
          <p:cNvSpPr/>
          <p:nvPr userDrawn="1"/>
        </p:nvSpPr>
        <p:spPr>
          <a:xfrm rot="2700000">
            <a:off x="9037252" y="3334944"/>
            <a:ext cx="970552" cy="4540137"/>
          </a:xfrm>
          <a:custGeom>
            <a:avLst/>
            <a:gdLst>
              <a:gd name="connsiteX0" fmla="*/ 1 w 970552"/>
              <a:gd name="connsiteY0" fmla="*/ 970551 h 4540137"/>
              <a:gd name="connsiteX1" fmla="*/ 970552 w 970552"/>
              <a:gd name="connsiteY1" fmla="*/ 0 h 4540137"/>
              <a:gd name="connsiteX2" fmla="*/ 970552 w 970552"/>
              <a:gd name="connsiteY2" fmla="*/ 3569585 h 4540137"/>
              <a:gd name="connsiteX3" fmla="*/ 0 w 970552"/>
              <a:gd name="connsiteY3" fmla="*/ 4540137 h 4540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0552" h="4540137">
                <a:moveTo>
                  <a:pt x="1" y="970551"/>
                </a:moveTo>
                <a:lnTo>
                  <a:pt x="970552" y="0"/>
                </a:lnTo>
                <a:lnTo>
                  <a:pt x="970552" y="3569585"/>
                </a:lnTo>
                <a:lnTo>
                  <a:pt x="0" y="4540137"/>
                </a:lnTo>
                <a:close/>
              </a:path>
            </a:pathLst>
          </a:custGeom>
          <a:gradFill>
            <a:gsLst>
              <a:gs pos="24000">
                <a:schemeClr val="bg1">
                  <a:alpha val="59000"/>
                </a:schemeClr>
              </a:gs>
              <a:gs pos="78000">
                <a:schemeClr val="bg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" name="Isosceles Triangle 1">
            <a:extLst>
              <a:ext uri="{FF2B5EF4-FFF2-40B4-BE49-F238E27FC236}">
                <a16:creationId xmlns:a16="http://schemas.microsoft.com/office/drawing/2014/main" id="{B4BC3A27-8DAD-4476-9725-CF11880123D8}"/>
              </a:ext>
            </a:extLst>
          </p:cNvPr>
          <p:cNvSpPr/>
          <p:nvPr userDrawn="1"/>
        </p:nvSpPr>
        <p:spPr>
          <a:xfrm>
            <a:off x="8935656" y="3622876"/>
            <a:ext cx="3251263" cy="3253579"/>
          </a:xfrm>
          <a:prstGeom prst="triangle">
            <a:avLst>
              <a:gd name="adj" fmla="val 10000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046FCD12-70AD-43E4-97A5-E350476D993C}"/>
              </a:ext>
            </a:extLst>
          </p:cNvPr>
          <p:cNvSpPr/>
          <p:nvPr userDrawn="1"/>
        </p:nvSpPr>
        <p:spPr>
          <a:xfrm rot="10800000">
            <a:off x="-1" y="-1"/>
            <a:ext cx="10873127" cy="6868836"/>
          </a:xfrm>
          <a:custGeom>
            <a:avLst/>
            <a:gdLst>
              <a:gd name="connsiteX0" fmla="*/ 10873127 w 10873127"/>
              <a:gd name="connsiteY0" fmla="*/ 6868836 h 6868836"/>
              <a:gd name="connsiteX1" fmla="*/ 0 w 10873127"/>
              <a:gd name="connsiteY1" fmla="*/ 6868836 h 6868836"/>
              <a:gd name="connsiteX2" fmla="*/ 6863947 w 10873127"/>
              <a:gd name="connsiteY2" fmla="*/ 0 h 6868836"/>
              <a:gd name="connsiteX3" fmla="*/ 10873127 w 10873127"/>
              <a:gd name="connsiteY3" fmla="*/ 0 h 6868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873127" h="6868836">
                <a:moveTo>
                  <a:pt x="10873127" y="6868836"/>
                </a:moveTo>
                <a:lnTo>
                  <a:pt x="0" y="6868836"/>
                </a:lnTo>
                <a:lnTo>
                  <a:pt x="6863947" y="0"/>
                </a:lnTo>
                <a:lnTo>
                  <a:pt x="10873127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EAC21F4-620C-4207-A01D-C082619C707B}"/>
              </a:ext>
            </a:extLst>
          </p:cNvPr>
          <p:cNvSpPr txBox="1"/>
          <p:nvPr userDrawn="1"/>
        </p:nvSpPr>
        <p:spPr bwMode="white"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solidFill>
                <a:schemeClr val="tx1"/>
              </a:solidFill>
              <a:latin typeface="+mj-lt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AC6091C-E947-4C0C-85B0-C87C084ACB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9108" y="938794"/>
            <a:ext cx="6427626" cy="1229360"/>
          </a:xfrm>
        </p:spPr>
        <p:txBody>
          <a:bodyPr wrap="square" anchor="b"/>
          <a:lstStyle>
            <a:lvl1pPr algn="l">
              <a:defRPr sz="3600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A2044BBD-0109-43FF-A52D-8FA2841A4DF6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02966" y="2267712"/>
            <a:ext cx="6408402" cy="70088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text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D0EECB4-F8FF-42F6-B913-97C4F2956537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A2743E06-9EDE-42AB-954B-24AD2E0EDE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F727B63B-9DDF-4464-B305-91E2F1F53A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BE99358C-EF1D-4887-8E23-C6B6EFECC05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AB115210-A643-4048-8CE2-AE858AA6D28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DADAB024-3024-4445-96A4-008D5EBBB3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8C49FA45-007B-4A99-BFB8-737C3A292BE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6" name="Freeform 12">
              <a:extLst>
                <a:ext uri="{FF2B5EF4-FFF2-40B4-BE49-F238E27FC236}">
                  <a16:creationId xmlns:a16="http://schemas.microsoft.com/office/drawing/2014/main" id="{6AD6968C-6030-4061-9BA9-3E345BE073B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9267F80E-E3AF-43A3-AA96-C701371ACCD5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</p:spTree>
    <p:extLst>
      <p:ext uri="{BB962C8B-B14F-4D97-AF65-F5344CB8AC3E}">
        <p14:creationId xmlns:p14="http://schemas.microsoft.com/office/powerpoint/2010/main" val="2337313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89834265-B4D7-4504-9C1C-C962DD96E4D9}"/>
              </a:ext>
            </a:extLst>
          </p:cNvPr>
          <p:cNvSpPr/>
          <p:nvPr userDrawn="1"/>
        </p:nvSpPr>
        <p:spPr>
          <a:xfrm rot="2700000">
            <a:off x="1156507" y="-4493128"/>
            <a:ext cx="7499811" cy="13467847"/>
          </a:xfrm>
          <a:custGeom>
            <a:avLst/>
            <a:gdLst>
              <a:gd name="connsiteX0" fmla="*/ 0 w 7499811"/>
              <a:gd name="connsiteY0" fmla="*/ 7314868 h 13467847"/>
              <a:gd name="connsiteX1" fmla="*/ 7314868 w 7499811"/>
              <a:gd name="connsiteY1" fmla="*/ 0 h 13467847"/>
              <a:gd name="connsiteX2" fmla="*/ 7499811 w 7499811"/>
              <a:gd name="connsiteY2" fmla="*/ 184942 h 13467847"/>
              <a:gd name="connsiteX3" fmla="*/ 7499811 w 7499811"/>
              <a:gd name="connsiteY3" fmla="*/ 9513150 h 13467847"/>
              <a:gd name="connsiteX4" fmla="*/ 3545114 w 7499811"/>
              <a:gd name="connsiteY4" fmla="*/ 13467847 h 13467847"/>
              <a:gd name="connsiteX5" fmla="*/ 0 w 7499811"/>
              <a:gd name="connsiteY5" fmla="*/ 9922733 h 13467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9811" h="13467847">
                <a:moveTo>
                  <a:pt x="0" y="7314868"/>
                </a:moveTo>
                <a:lnTo>
                  <a:pt x="7314868" y="0"/>
                </a:lnTo>
                <a:lnTo>
                  <a:pt x="7499811" y="184942"/>
                </a:lnTo>
                <a:lnTo>
                  <a:pt x="7499811" y="9513150"/>
                </a:lnTo>
                <a:lnTo>
                  <a:pt x="3545114" y="13467847"/>
                </a:lnTo>
                <a:lnTo>
                  <a:pt x="0" y="9922733"/>
                </a:lnTo>
                <a:close/>
              </a:path>
            </a:pathLst>
          </a:custGeom>
          <a:gradFill>
            <a:gsLst>
              <a:gs pos="24000">
                <a:schemeClr val="accent4"/>
              </a:gs>
              <a:gs pos="87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12F29CAF-76E7-4387-BEA8-66F482EB65A2}"/>
              </a:ext>
            </a:extLst>
          </p:cNvPr>
          <p:cNvSpPr/>
          <p:nvPr userDrawn="1"/>
        </p:nvSpPr>
        <p:spPr>
          <a:xfrm rot="2700000">
            <a:off x="7032715" y="-169135"/>
            <a:ext cx="1042026" cy="8663939"/>
          </a:xfrm>
          <a:custGeom>
            <a:avLst/>
            <a:gdLst>
              <a:gd name="connsiteX0" fmla="*/ 0 w 1042026"/>
              <a:gd name="connsiteY0" fmla="*/ 0 h 8663939"/>
              <a:gd name="connsiteX1" fmla="*/ 1042026 w 1042026"/>
              <a:gd name="connsiteY1" fmla="*/ 0 h 8663939"/>
              <a:gd name="connsiteX2" fmla="*/ 1042026 w 1042026"/>
              <a:gd name="connsiteY2" fmla="*/ 7621913 h 8663939"/>
              <a:gd name="connsiteX3" fmla="*/ 0 w 1042026"/>
              <a:gd name="connsiteY3" fmla="*/ 8663939 h 86639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2026" h="8663939">
                <a:moveTo>
                  <a:pt x="0" y="0"/>
                </a:moveTo>
                <a:lnTo>
                  <a:pt x="1042026" y="0"/>
                </a:lnTo>
                <a:lnTo>
                  <a:pt x="1042026" y="7621913"/>
                </a:lnTo>
                <a:lnTo>
                  <a:pt x="0" y="8663939"/>
                </a:lnTo>
                <a:close/>
              </a:path>
            </a:pathLst>
          </a:custGeom>
          <a:gradFill>
            <a:gsLst>
              <a:gs pos="94000">
                <a:schemeClr val="bg1"/>
              </a:gs>
              <a:gs pos="26000">
                <a:schemeClr val="accent4"/>
              </a:gs>
              <a:gs pos="76000">
                <a:schemeClr val="bg1">
                  <a:alpha val="91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48347C3-DAFD-4322-8B75-FAADCB97A100}"/>
              </a:ext>
            </a:extLst>
          </p:cNvPr>
          <p:cNvSpPr txBox="1"/>
          <p:nvPr userDrawn="1"/>
        </p:nvSpPr>
        <p:spPr bwMode="white"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A840448-0A4C-4F83-A1CE-7B630AF6D91D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33BBD7F2-6BDB-40F5-BE43-2E5C642F40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1898F8B4-B178-4326-B6D0-C409F52A5D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04FAC758-8579-4948-8E17-F881282AF52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9BC37D6E-0610-40BC-A869-ED4C24F40DA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id="{0AD2EDE2-8C04-4779-942A-CD00356199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id="{B9B95322-EB86-42B6-BCDB-3C38F71CED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32" name="Freeform 12">
              <a:extLst>
                <a:ext uri="{FF2B5EF4-FFF2-40B4-BE49-F238E27FC236}">
                  <a16:creationId xmlns:a16="http://schemas.microsoft.com/office/drawing/2014/main" id="{20532F85-7A34-4927-9486-A847F29CF7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10DCB4EB-8A9B-485D-A968-34B397B482C3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fidential   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©2019 VMware, Inc.</a:t>
            </a:r>
          </a:p>
        </p:txBody>
      </p:sp>
      <p:sp>
        <p:nvSpPr>
          <p:cNvPr id="41" name="Picture Placeholder 184">
            <a:extLst>
              <a:ext uri="{FF2B5EF4-FFF2-40B4-BE49-F238E27FC236}">
                <a16:creationId xmlns:a16="http://schemas.microsoft.com/office/drawing/2014/main" id="{997DC603-F304-4357-BF7F-19215EB70C5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523151" y="4619335"/>
            <a:ext cx="2740025" cy="1371600"/>
          </a:xfrm>
          <a:noFill/>
        </p:spPr>
        <p:txBody>
          <a:bodyPr anchor="ctr"/>
          <a:lstStyle>
            <a:lvl1pPr algn="ctr">
              <a:defRPr sz="2400" b="1">
                <a:solidFill>
                  <a:srgbClr val="F8981D"/>
                </a:solidFill>
              </a:defRPr>
            </a:lvl1pPr>
          </a:lstStyle>
          <a:p>
            <a:r>
              <a:rPr lang="en-US"/>
              <a:t>Click to insert logo or delete box if not needed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6C21BA7-C6D2-446E-8FD2-266107E90C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8912" y="1600200"/>
            <a:ext cx="5413248" cy="3200400"/>
          </a:xfrm>
        </p:spPr>
        <p:txBody>
          <a:bodyPr anchor="b"/>
          <a:lstStyle>
            <a:lvl1pPr marL="169863" indent="-169863">
              <a:buClrTx/>
              <a:buSzPct val="100000"/>
              <a:buFont typeface="Metropolis" panose="00000500000000000000" pitchFamily="2" charset="0"/>
              <a:buChar char="“"/>
              <a:defRPr sz="2800">
                <a:solidFill>
                  <a:schemeClr val="bg1"/>
                </a:solidFill>
              </a:defRPr>
            </a:lvl1pPr>
            <a:lvl2pPr marL="457200" indent="-184150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2pPr>
            <a:lvl3pPr marL="744538" indent="-16986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3pPr>
            <a:lvl4pPr marL="969963" indent="-166688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4pPr>
            <a:lvl5pPr marL="1143000" indent="-13811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762CBDD-60C2-443D-88B5-C596896049D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648" y="5065776"/>
            <a:ext cx="4581144" cy="274320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 Name</a:t>
            </a:r>
          </a:p>
        </p:txBody>
      </p:sp>
    </p:spTree>
    <p:extLst>
      <p:ext uri="{BB962C8B-B14F-4D97-AF65-F5344CB8AC3E}">
        <p14:creationId xmlns:p14="http://schemas.microsoft.com/office/powerpoint/2010/main" val="3682134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– Plu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89834265-B4D7-4504-9C1C-C962DD96E4D9}"/>
              </a:ext>
            </a:extLst>
          </p:cNvPr>
          <p:cNvSpPr/>
          <p:nvPr userDrawn="1"/>
        </p:nvSpPr>
        <p:spPr>
          <a:xfrm rot="2700000">
            <a:off x="1156507" y="-4493128"/>
            <a:ext cx="7499811" cy="13467847"/>
          </a:xfrm>
          <a:custGeom>
            <a:avLst/>
            <a:gdLst>
              <a:gd name="connsiteX0" fmla="*/ 0 w 7499811"/>
              <a:gd name="connsiteY0" fmla="*/ 7314868 h 13467847"/>
              <a:gd name="connsiteX1" fmla="*/ 7314868 w 7499811"/>
              <a:gd name="connsiteY1" fmla="*/ 0 h 13467847"/>
              <a:gd name="connsiteX2" fmla="*/ 7499811 w 7499811"/>
              <a:gd name="connsiteY2" fmla="*/ 184942 h 13467847"/>
              <a:gd name="connsiteX3" fmla="*/ 7499811 w 7499811"/>
              <a:gd name="connsiteY3" fmla="*/ 9513150 h 13467847"/>
              <a:gd name="connsiteX4" fmla="*/ 3545114 w 7499811"/>
              <a:gd name="connsiteY4" fmla="*/ 13467847 h 13467847"/>
              <a:gd name="connsiteX5" fmla="*/ 0 w 7499811"/>
              <a:gd name="connsiteY5" fmla="*/ 9922733 h 13467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9811" h="13467847">
                <a:moveTo>
                  <a:pt x="0" y="7314868"/>
                </a:moveTo>
                <a:lnTo>
                  <a:pt x="7314868" y="0"/>
                </a:lnTo>
                <a:lnTo>
                  <a:pt x="7499811" y="184942"/>
                </a:lnTo>
                <a:lnTo>
                  <a:pt x="7499811" y="9513150"/>
                </a:lnTo>
                <a:lnTo>
                  <a:pt x="3545114" y="13467847"/>
                </a:lnTo>
                <a:lnTo>
                  <a:pt x="0" y="9922733"/>
                </a:lnTo>
                <a:close/>
              </a:path>
            </a:pathLst>
          </a:custGeom>
          <a:gradFill>
            <a:gsLst>
              <a:gs pos="24000">
                <a:srgbClr val="7F35AB"/>
              </a:gs>
              <a:gs pos="87000">
                <a:srgbClr val="264088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12F29CAF-76E7-4387-BEA8-66F482EB65A2}"/>
              </a:ext>
            </a:extLst>
          </p:cNvPr>
          <p:cNvSpPr/>
          <p:nvPr userDrawn="1"/>
        </p:nvSpPr>
        <p:spPr>
          <a:xfrm rot="2700000">
            <a:off x="7032715" y="-169135"/>
            <a:ext cx="1042026" cy="8663939"/>
          </a:xfrm>
          <a:custGeom>
            <a:avLst/>
            <a:gdLst>
              <a:gd name="connsiteX0" fmla="*/ 0 w 1042026"/>
              <a:gd name="connsiteY0" fmla="*/ 0 h 8663939"/>
              <a:gd name="connsiteX1" fmla="*/ 1042026 w 1042026"/>
              <a:gd name="connsiteY1" fmla="*/ 0 h 8663939"/>
              <a:gd name="connsiteX2" fmla="*/ 1042026 w 1042026"/>
              <a:gd name="connsiteY2" fmla="*/ 7621913 h 8663939"/>
              <a:gd name="connsiteX3" fmla="*/ 0 w 1042026"/>
              <a:gd name="connsiteY3" fmla="*/ 8663939 h 86639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2026" h="8663939">
                <a:moveTo>
                  <a:pt x="0" y="0"/>
                </a:moveTo>
                <a:lnTo>
                  <a:pt x="1042026" y="0"/>
                </a:lnTo>
                <a:lnTo>
                  <a:pt x="1042026" y="7621913"/>
                </a:lnTo>
                <a:lnTo>
                  <a:pt x="0" y="8663939"/>
                </a:lnTo>
                <a:close/>
              </a:path>
            </a:pathLst>
          </a:custGeom>
          <a:gradFill>
            <a:gsLst>
              <a:gs pos="22000">
                <a:srgbClr val="7F35AB">
                  <a:alpha val="94000"/>
                </a:srgbClr>
              </a:gs>
              <a:gs pos="95000">
                <a:schemeClr val="bg1"/>
              </a:gs>
              <a:gs pos="77000">
                <a:schemeClr val="bg1">
                  <a:alpha val="79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48347C3-DAFD-4322-8B75-FAADCB97A100}"/>
              </a:ext>
            </a:extLst>
          </p:cNvPr>
          <p:cNvSpPr txBox="1"/>
          <p:nvPr userDrawn="1"/>
        </p:nvSpPr>
        <p:spPr bwMode="white"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A840448-0A4C-4F83-A1CE-7B630AF6D91D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33BBD7F2-6BDB-40F5-BE43-2E5C642F40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1898F8B4-B178-4326-B6D0-C409F52A5D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04FAC758-8579-4948-8E17-F881282AF52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9BC37D6E-0610-40BC-A869-ED4C24F40DA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id="{0AD2EDE2-8C04-4779-942A-CD00356199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id="{B9B95322-EB86-42B6-BCDB-3C38F71CED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32" name="Freeform 12">
              <a:extLst>
                <a:ext uri="{FF2B5EF4-FFF2-40B4-BE49-F238E27FC236}">
                  <a16:creationId xmlns:a16="http://schemas.microsoft.com/office/drawing/2014/main" id="{20532F85-7A34-4927-9486-A847F29CF7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10DCB4EB-8A9B-485D-A968-34B397B482C3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fidential   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©2019 VMware, Inc.</a:t>
            </a:r>
          </a:p>
        </p:txBody>
      </p:sp>
      <p:sp>
        <p:nvSpPr>
          <p:cNvPr id="41" name="Picture Placeholder 184">
            <a:extLst>
              <a:ext uri="{FF2B5EF4-FFF2-40B4-BE49-F238E27FC236}">
                <a16:creationId xmlns:a16="http://schemas.microsoft.com/office/drawing/2014/main" id="{997DC603-F304-4357-BF7F-19215EB70C5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523151" y="4619335"/>
            <a:ext cx="2740025" cy="1371600"/>
          </a:xfrm>
          <a:noFill/>
        </p:spPr>
        <p:txBody>
          <a:bodyPr anchor="ctr"/>
          <a:lstStyle>
            <a:lvl1pPr algn="ctr">
              <a:defRPr sz="2400" b="1">
                <a:solidFill>
                  <a:srgbClr val="F8981D"/>
                </a:solidFill>
              </a:defRPr>
            </a:lvl1pPr>
          </a:lstStyle>
          <a:p>
            <a:r>
              <a:rPr lang="en-US"/>
              <a:t>Click to insert logo or delete box if not needed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6C21BA7-C6D2-446E-8FD2-266107E90C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8912" y="1600200"/>
            <a:ext cx="5413248" cy="3200400"/>
          </a:xfrm>
        </p:spPr>
        <p:txBody>
          <a:bodyPr anchor="b"/>
          <a:lstStyle>
            <a:lvl1pPr marL="169863" indent="-169863">
              <a:buClrTx/>
              <a:buSzPct val="100000"/>
              <a:buFont typeface="Metropolis" panose="00000500000000000000" pitchFamily="2" charset="0"/>
              <a:buChar char="“"/>
              <a:defRPr sz="2800">
                <a:solidFill>
                  <a:schemeClr val="bg1"/>
                </a:solidFill>
              </a:defRPr>
            </a:lvl1pPr>
            <a:lvl2pPr marL="457200" indent="-184150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2pPr>
            <a:lvl3pPr marL="744538" indent="-16986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3pPr>
            <a:lvl4pPr marL="969963" indent="-166688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4pPr>
            <a:lvl5pPr marL="1143000" indent="-13811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762CBDD-60C2-443D-88B5-C596896049D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648" y="5065776"/>
            <a:ext cx="4581144" cy="274320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 Name</a:t>
            </a:r>
          </a:p>
        </p:txBody>
      </p:sp>
    </p:spTree>
    <p:extLst>
      <p:ext uri="{BB962C8B-B14F-4D97-AF65-F5344CB8AC3E}">
        <p14:creationId xmlns:p14="http://schemas.microsoft.com/office/powerpoint/2010/main" val="1298057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–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89834265-B4D7-4504-9C1C-C962DD96E4D9}"/>
              </a:ext>
            </a:extLst>
          </p:cNvPr>
          <p:cNvSpPr/>
          <p:nvPr userDrawn="1"/>
        </p:nvSpPr>
        <p:spPr>
          <a:xfrm rot="2700000">
            <a:off x="1156507" y="-4493128"/>
            <a:ext cx="7499811" cy="13467847"/>
          </a:xfrm>
          <a:custGeom>
            <a:avLst/>
            <a:gdLst>
              <a:gd name="connsiteX0" fmla="*/ 0 w 7499811"/>
              <a:gd name="connsiteY0" fmla="*/ 7314868 h 13467847"/>
              <a:gd name="connsiteX1" fmla="*/ 7314868 w 7499811"/>
              <a:gd name="connsiteY1" fmla="*/ 0 h 13467847"/>
              <a:gd name="connsiteX2" fmla="*/ 7499811 w 7499811"/>
              <a:gd name="connsiteY2" fmla="*/ 184942 h 13467847"/>
              <a:gd name="connsiteX3" fmla="*/ 7499811 w 7499811"/>
              <a:gd name="connsiteY3" fmla="*/ 9513150 h 13467847"/>
              <a:gd name="connsiteX4" fmla="*/ 3545114 w 7499811"/>
              <a:gd name="connsiteY4" fmla="*/ 13467847 h 13467847"/>
              <a:gd name="connsiteX5" fmla="*/ 0 w 7499811"/>
              <a:gd name="connsiteY5" fmla="*/ 9922733 h 13467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9811" h="13467847">
                <a:moveTo>
                  <a:pt x="0" y="7314868"/>
                </a:moveTo>
                <a:lnTo>
                  <a:pt x="7314868" y="0"/>
                </a:lnTo>
                <a:lnTo>
                  <a:pt x="7499811" y="184942"/>
                </a:lnTo>
                <a:lnTo>
                  <a:pt x="7499811" y="9513150"/>
                </a:lnTo>
                <a:lnTo>
                  <a:pt x="3545114" y="13467847"/>
                </a:lnTo>
                <a:lnTo>
                  <a:pt x="0" y="9922733"/>
                </a:lnTo>
                <a:close/>
              </a:path>
            </a:pathLst>
          </a:custGeom>
          <a:gradFill>
            <a:gsLst>
              <a:gs pos="24000">
                <a:schemeClr val="accent3"/>
              </a:gs>
              <a:gs pos="87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12F29CAF-76E7-4387-BEA8-66F482EB65A2}"/>
              </a:ext>
            </a:extLst>
          </p:cNvPr>
          <p:cNvSpPr/>
          <p:nvPr userDrawn="1"/>
        </p:nvSpPr>
        <p:spPr>
          <a:xfrm rot="2700000">
            <a:off x="7032715" y="-169135"/>
            <a:ext cx="1042026" cy="8663939"/>
          </a:xfrm>
          <a:custGeom>
            <a:avLst/>
            <a:gdLst>
              <a:gd name="connsiteX0" fmla="*/ 0 w 1042026"/>
              <a:gd name="connsiteY0" fmla="*/ 0 h 8663939"/>
              <a:gd name="connsiteX1" fmla="*/ 1042026 w 1042026"/>
              <a:gd name="connsiteY1" fmla="*/ 0 h 8663939"/>
              <a:gd name="connsiteX2" fmla="*/ 1042026 w 1042026"/>
              <a:gd name="connsiteY2" fmla="*/ 7621913 h 8663939"/>
              <a:gd name="connsiteX3" fmla="*/ 0 w 1042026"/>
              <a:gd name="connsiteY3" fmla="*/ 8663939 h 86639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2026" h="8663939">
                <a:moveTo>
                  <a:pt x="0" y="0"/>
                </a:moveTo>
                <a:lnTo>
                  <a:pt x="1042026" y="0"/>
                </a:lnTo>
                <a:lnTo>
                  <a:pt x="1042026" y="7621913"/>
                </a:lnTo>
                <a:lnTo>
                  <a:pt x="0" y="8663939"/>
                </a:lnTo>
                <a:close/>
              </a:path>
            </a:pathLst>
          </a:custGeom>
          <a:gradFill>
            <a:gsLst>
              <a:gs pos="24000">
                <a:schemeClr val="accent3"/>
              </a:gs>
              <a:gs pos="80511">
                <a:schemeClr val="bg1">
                  <a:alpha val="76000"/>
                </a:schemeClr>
              </a:gs>
              <a:gs pos="100000">
                <a:schemeClr val="bg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48347C3-DAFD-4322-8B75-FAADCB97A100}"/>
              </a:ext>
            </a:extLst>
          </p:cNvPr>
          <p:cNvSpPr txBox="1"/>
          <p:nvPr userDrawn="1"/>
        </p:nvSpPr>
        <p:spPr bwMode="white"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A840448-0A4C-4F83-A1CE-7B630AF6D91D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33BBD7F2-6BDB-40F5-BE43-2E5C642F40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1898F8B4-B178-4326-B6D0-C409F52A5D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04FAC758-8579-4948-8E17-F881282AF52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9BC37D6E-0610-40BC-A869-ED4C24F40DA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id="{0AD2EDE2-8C04-4779-942A-CD00356199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id="{B9B95322-EB86-42B6-BCDB-3C38F71CED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32" name="Freeform 12">
              <a:extLst>
                <a:ext uri="{FF2B5EF4-FFF2-40B4-BE49-F238E27FC236}">
                  <a16:creationId xmlns:a16="http://schemas.microsoft.com/office/drawing/2014/main" id="{20532F85-7A34-4927-9486-A847F29CF7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10DCB4EB-8A9B-485D-A968-34B397B482C3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fidential   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©2019 VMware, Inc.</a:t>
            </a:r>
          </a:p>
        </p:txBody>
      </p:sp>
      <p:sp>
        <p:nvSpPr>
          <p:cNvPr id="41" name="Picture Placeholder 184">
            <a:extLst>
              <a:ext uri="{FF2B5EF4-FFF2-40B4-BE49-F238E27FC236}">
                <a16:creationId xmlns:a16="http://schemas.microsoft.com/office/drawing/2014/main" id="{997DC603-F304-4357-BF7F-19215EB70C5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523151" y="4619335"/>
            <a:ext cx="2740025" cy="1371600"/>
          </a:xfrm>
          <a:noFill/>
        </p:spPr>
        <p:txBody>
          <a:bodyPr anchor="ctr"/>
          <a:lstStyle>
            <a:lvl1pPr algn="ctr">
              <a:defRPr sz="2400" b="1">
                <a:solidFill>
                  <a:srgbClr val="F8981D"/>
                </a:solidFill>
              </a:defRPr>
            </a:lvl1pPr>
          </a:lstStyle>
          <a:p>
            <a:r>
              <a:rPr lang="en-US"/>
              <a:t>Click to insert logo or delete box if not needed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6C21BA7-C6D2-446E-8FD2-266107E90C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8912" y="1600200"/>
            <a:ext cx="5413248" cy="3200400"/>
          </a:xfrm>
        </p:spPr>
        <p:txBody>
          <a:bodyPr anchor="b"/>
          <a:lstStyle>
            <a:lvl1pPr marL="169863" indent="-169863">
              <a:buClrTx/>
              <a:buSzPct val="100000"/>
              <a:buFont typeface="Metropolis" panose="00000500000000000000" pitchFamily="2" charset="0"/>
              <a:buChar char="“"/>
              <a:defRPr sz="2800">
                <a:solidFill>
                  <a:schemeClr val="bg1"/>
                </a:solidFill>
              </a:defRPr>
            </a:lvl1pPr>
            <a:lvl2pPr marL="457200" indent="-184150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2pPr>
            <a:lvl3pPr marL="744538" indent="-16986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3pPr>
            <a:lvl4pPr marL="969963" indent="-166688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4pPr>
            <a:lvl5pPr marL="1143000" indent="-13811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762CBDD-60C2-443D-88B5-C596896049D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648" y="5065776"/>
            <a:ext cx="4581144" cy="274320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 Name</a:t>
            </a:r>
          </a:p>
        </p:txBody>
      </p:sp>
    </p:spTree>
    <p:extLst>
      <p:ext uri="{BB962C8B-B14F-4D97-AF65-F5344CB8AC3E}">
        <p14:creationId xmlns:p14="http://schemas.microsoft.com/office/powerpoint/2010/main" val="1132471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with Phot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6AB501C1-9DF6-44B6-A147-29CFF5E96E50}"/>
              </a:ext>
            </a:extLst>
          </p:cNvPr>
          <p:cNvSpPr/>
          <p:nvPr userDrawn="1"/>
        </p:nvSpPr>
        <p:spPr>
          <a:xfrm rot="2700000">
            <a:off x="969033" y="-4049006"/>
            <a:ext cx="6293364" cy="12454818"/>
          </a:xfrm>
          <a:custGeom>
            <a:avLst/>
            <a:gdLst>
              <a:gd name="connsiteX0" fmla="*/ 0 w 6293364"/>
              <a:gd name="connsiteY0" fmla="*/ 6293364 h 12454818"/>
              <a:gd name="connsiteX1" fmla="*/ 6293364 w 6293364"/>
              <a:gd name="connsiteY1" fmla="*/ 0 h 12454818"/>
              <a:gd name="connsiteX2" fmla="*/ 6293364 w 6293364"/>
              <a:gd name="connsiteY2" fmla="*/ 9715045 h 12454818"/>
              <a:gd name="connsiteX3" fmla="*/ 3553591 w 6293364"/>
              <a:gd name="connsiteY3" fmla="*/ 12454818 h 12454818"/>
              <a:gd name="connsiteX4" fmla="*/ 0 w 6293364"/>
              <a:gd name="connsiteY4" fmla="*/ 8901227 h 12454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93364" h="12454818">
                <a:moveTo>
                  <a:pt x="0" y="6293364"/>
                </a:moveTo>
                <a:lnTo>
                  <a:pt x="6293364" y="0"/>
                </a:lnTo>
                <a:lnTo>
                  <a:pt x="6293364" y="9715045"/>
                </a:lnTo>
                <a:lnTo>
                  <a:pt x="3553591" y="12454818"/>
                </a:lnTo>
                <a:lnTo>
                  <a:pt x="0" y="8901227"/>
                </a:lnTo>
                <a:close/>
              </a:path>
            </a:pathLst>
          </a:custGeom>
          <a:gradFill>
            <a:gsLst>
              <a:gs pos="24000">
                <a:schemeClr val="accent4">
                  <a:alpha val="46000"/>
                </a:schemeClr>
              </a:gs>
              <a:gs pos="79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48347C3-DAFD-4322-8B75-FAADCB97A100}"/>
              </a:ext>
            </a:extLst>
          </p:cNvPr>
          <p:cNvSpPr txBox="1"/>
          <p:nvPr userDrawn="1"/>
        </p:nvSpPr>
        <p:spPr bwMode="white"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A840448-0A4C-4F83-A1CE-7B630AF6D91D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33BBD7F2-6BDB-40F5-BE43-2E5C642F40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1898F8B4-B178-4326-B6D0-C409F52A5D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04FAC758-8579-4948-8E17-F881282AF52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9BC37D6E-0610-40BC-A869-ED4C24F40DA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id="{0AD2EDE2-8C04-4779-942A-CD00356199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id="{B9B95322-EB86-42B6-BCDB-3C38F71CED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32" name="Freeform 12">
              <a:extLst>
                <a:ext uri="{FF2B5EF4-FFF2-40B4-BE49-F238E27FC236}">
                  <a16:creationId xmlns:a16="http://schemas.microsoft.com/office/drawing/2014/main" id="{20532F85-7A34-4927-9486-A847F29CF7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10DCB4EB-8A9B-485D-A968-34B397B482C3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fidential   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©2019 VMware, Inc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6C21BA7-C6D2-446E-8FD2-266107E90C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8912" y="1600200"/>
            <a:ext cx="5413248" cy="3200400"/>
          </a:xfrm>
        </p:spPr>
        <p:txBody>
          <a:bodyPr anchor="b"/>
          <a:lstStyle>
            <a:lvl1pPr marL="169863" indent="-169863">
              <a:buClrTx/>
              <a:buSzPct val="100000"/>
              <a:buFont typeface="Metropolis" panose="00000500000000000000" pitchFamily="2" charset="0"/>
              <a:buChar char="“"/>
              <a:defRPr sz="2800">
                <a:solidFill>
                  <a:schemeClr val="bg1"/>
                </a:solidFill>
              </a:defRPr>
            </a:lvl1pPr>
            <a:lvl2pPr marL="457200" indent="-184150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2pPr>
            <a:lvl3pPr marL="744538" indent="-16986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3pPr>
            <a:lvl4pPr marL="969963" indent="-166688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4pPr>
            <a:lvl5pPr marL="1143000" indent="-13811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762CBDD-60C2-443D-88B5-C596896049D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648" y="5065776"/>
            <a:ext cx="4581144" cy="274320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 Name</a:t>
            </a:r>
          </a:p>
        </p:txBody>
      </p:sp>
    </p:spTree>
    <p:extLst>
      <p:ext uri="{BB962C8B-B14F-4D97-AF65-F5344CB8AC3E}">
        <p14:creationId xmlns:p14="http://schemas.microsoft.com/office/powerpoint/2010/main" val="2892098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with Photo – Purp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6AB501C1-9DF6-44B6-A147-29CFF5E96E50}"/>
              </a:ext>
            </a:extLst>
          </p:cNvPr>
          <p:cNvSpPr/>
          <p:nvPr userDrawn="1"/>
        </p:nvSpPr>
        <p:spPr>
          <a:xfrm rot="2700000">
            <a:off x="969033" y="-4049006"/>
            <a:ext cx="6293364" cy="12454818"/>
          </a:xfrm>
          <a:custGeom>
            <a:avLst/>
            <a:gdLst>
              <a:gd name="connsiteX0" fmla="*/ 0 w 6293364"/>
              <a:gd name="connsiteY0" fmla="*/ 6293364 h 12454818"/>
              <a:gd name="connsiteX1" fmla="*/ 6293364 w 6293364"/>
              <a:gd name="connsiteY1" fmla="*/ 0 h 12454818"/>
              <a:gd name="connsiteX2" fmla="*/ 6293364 w 6293364"/>
              <a:gd name="connsiteY2" fmla="*/ 9715045 h 12454818"/>
              <a:gd name="connsiteX3" fmla="*/ 3553591 w 6293364"/>
              <a:gd name="connsiteY3" fmla="*/ 12454818 h 12454818"/>
              <a:gd name="connsiteX4" fmla="*/ 0 w 6293364"/>
              <a:gd name="connsiteY4" fmla="*/ 8901227 h 12454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93364" h="12454818">
                <a:moveTo>
                  <a:pt x="0" y="6293364"/>
                </a:moveTo>
                <a:lnTo>
                  <a:pt x="6293364" y="0"/>
                </a:lnTo>
                <a:lnTo>
                  <a:pt x="6293364" y="9715045"/>
                </a:lnTo>
                <a:lnTo>
                  <a:pt x="3553591" y="12454818"/>
                </a:lnTo>
                <a:lnTo>
                  <a:pt x="0" y="8901227"/>
                </a:lnTo>
                <a:close/>
              </a:path>
            </a:pathLst>
          </a:custGeom>
          <a:gradFill>
            <a:gsLst>
              <a:gs pos="0">
                <a:srgbClr val="7F35AB">
                  <a:alpha val="27000"/>
                </a:srgbClr>
              </a:gs>
              <a:gs pos="82000">
                <a:srgbClr val="264088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48347C3-DAFD-4322-8B75-FAADCB97A100}"/>
              </a:ext>
            </a:extLst>
          </p:cNvPr>
          <p:cNvSpPr txBox="1"/>
          <p:nvPr userDrawn="1"/>
        </p:nvSpPr>
        <p:spPr bwMode="white"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A840448-0A4C-4F83-A1CE-7B630AF6D91D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33BBD7F2-6BDB-40F5-BE43-2E5C642F40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1898F8B4-B178-4326-B6D0-C409F52A5D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04FAC758-8579-4948-8E17-F881282AF52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9BC37D6E-0610-40BC-A869-ED4C24F40DA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id="{0AD2EDE2-8C04-4779-942A-CD00356199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id="{B9B95322-EB86-42B6-BCDB-3C38F71CED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32" name="Freeform 12">
              <a:extLst>
                <a:ext uri="{FF2B5EF4-FFF2-40B4-BE49-F238E27FC236}">
                  <a16:creationId xmlns:a16="http://schemas.microsoft.com/office/drawing/2014/main" id="{20532F85-7A34-4927-9486-A847F29CF7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10DCB4EB-8A9B-485D-A968-34B397B482C3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fidential   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©2019 VMware, Inc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6C21BA7-C6D2-446E-8FD2-266107E90C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8912" y="1600200"/>
            <a:ext cx="5413248" cy="3200400"/>
          </a:xfrm>
        </p:spPr>
        <p:txBody>
          <a:bodyPr anchor="b"/>
          <a:lstStyle>
            <a:lvl1pPr marL="169863" indent="-169863">
              <a:buClrTx/>
              <a:buSzPct val="100000"/>
              <a:buFont typeface="Metropolis" panose="00000500000000000000" pitchFamily="2" charset="0"/>
              <a:buChar char="“"/>
              <a:defRPr sz="2800">
                <a:solidFill>
                  <a:schemeClr val="bg1"/>
                </a:solidFill>
              </a:defRPr>
            </a:lvl1pPr>
            <a:lvl2pPr marL="457200" indent="-184150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2pPr>
            <a:lvl3pPr marL="744538" indent="-16986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3pPr>
            <a:lvl4pPr marL="969963" indent="-166688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4pPr>
            <a:lvl5pPr marL="1143000" indent="-13811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762CBDD-60C2-443D-88B5-C596896049D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648" y="5065776"/>
            <a:ext cx="4581144" cy="274320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 Name</a:t>
            </a:r>
          </a:p>
        </p:txBody>
      </p:sp>
    </p:spTree>
    <p:extLst>
      <p:ext uri="{BB962C8B-B14F-4D97-AF65-F5344CB8AC3E}">
        <p14:creationId xmlns:p14="http://schemas.microsoft.com/office/powerpoint/2010/main" val="3353122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with Photo –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6AB501C1-9DF6-44B6-A147-29CFF5E96E50}"/>
              </a:ext>
            </a:extLst>
          </p:cNvPr>
          <p:cNvSpPr/>
          <p:nvPr userDrawn="1"/>
        </p:nvSpPr>
        <p:spPr>
          <a:xfrm rot="2700000">
            <a:off x="969033" y="-4049006"/>
            <a:ext cx="6293364" cy="12454818"/>
          </a:xfrm>
          <a:custGeom>
            <a:avLst/>
            <a:gdLst>
              <a:gd name="connsiteX0" fmla="*/ 0 w 6293364"/>
              <a:gd name="connsiteY0" fmla="*/ 6293364 h 12454818"/>
              <a:gd name="connsiteX1" fmla="*/ 6293364 w 6293364"/>
              <a:gd name="connsiteY1" fmla="*/ 0 h 12454818"/>
              <a:gd name="connsiteX2" fmla="*/ 6293364 w 6293364"/>
              <a:gd name="connsiteY2" fmla="*/ 9715045 h 12454818"/>
              <a:gd name="connsiteX3" fmla="*/ 3553591 w 6293364"/>
              <a:gd name="connsiteY3" fmla="*/ 12454818 h 12454818"/>
              <a:gd name="connsiteX4" fmla="*/ 0 w 6293364"/>
              <a:gd name="connsiteY4" fmla="*/ 8901227 h 12454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93364" h="12454818">
                <a:moveTo>
                  <a:pt x="0" y="6293364"/>
                </a:moveTo>
                <a:lnTo>
                  <a:pt x="6293364" y="0"/>
                </a:lnTo>
                <a:lnTo>
                  <a:pt x="6293364" y="9715045"/>
                </a:lnTo>
                <a:lnTo>
                  <a:pt x="3553591" y="12454818"/>
                </a:lnTo>
                <a:lnTo>
                  <a:pt x="0" y="8901227"/>
                </a:lnTo>
                <a:close/>
              </a:path>
            </a:pathLst>
          </a:custGeom>
          <a:gradFill>
            <a:gsLst>
              <a:gs pos="24000">
                <a:schemeClr val="accent3">
                  <a:alpha val="40000"/>
                </a:schemeClr>
              </a:gs>
              <a:gs pos="82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48347C3-DAFD-4322-8B75-FAADCB97A100}"/>
              </a:ext>
            </a:extLst>
          </p:cNvPr>
          <p:cNvSpPr txBox="1"/>
          <p:nvPr userDrawn="1"/>
        </p:nvSpPr>
        <p:spPr bwMode="white"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A840448-0A4C-4F83-A1CE-7B630AF6D91D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33BBD7F2-6BDB-40F5-BE43-2E5C642F40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1898F8B4-B178-4326-B6D0-C409F52A5D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04FAC758-8579-4948-8E17-F881282AF52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9BC37D6E-0610-40BC-A869-ED4C24F40DA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id="{0AD2EDE2-8C04-4779-942A-CD00356199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id="{B9B95322-EB86-42B6-BCDB-3C38F71CED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32" name="Freeform 12">
              <a:extLst>
                <a:ext uri="{FF2B5EF4-FFF2-40B4-BE49-F238E27FC236}">
                  <a16:creationId xmlns:a16="http://schemas.microsoft.com/office/drawing/2014/main" id="{20532F85-7A34-4927-9486-A847F29CF7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10DCB4EB-8A9B-485D-A968-34B397B482C3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fidential   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©2019 VMware, Inc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6C21BA7-C6D2-446E-8FD2-266107E90C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8912" y="1600200"/>
            <a:ext cx="5413248" cy="3200400"/>
          </a:xfrm>
        </p:spPr>
        <p:txBody>
          <a:bodyPr anchor="b"/>
          <a:lstStyle>
            <a:lvl1pPr marL="169863" indent="-169863">
              <a:buClrTx/>
              <a:buSzPct val="100000"/>
              <a:buFont typeface="Metropolis" panose="00000500000000000000" pitchFamily="2" charset="0"/>
              <a:buChar char="“"/>
              <a:defRPr sz="2800">
                <a:solidFill>
                  <a:schemeClr val="bg1"/>
                </a:solidFill>
              </a:defRPr>
            </a:lvl1pPr>
            <a:lvl2pPr marL="457200" indent="-184150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2pPr>
            <a:lvl3pPr marL="744538" indent="-16986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3pPr>
            <a:lvl4pPr marL="969963" indent="-166688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4pPr>
            <a:lvl5pPr marL="1143000" indent="-13811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762CBDD-60C2-443D-88B5-C596896049D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648" y="5065776"/>
            <a:ext cx="4581144" cy="274320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 Name</a:t>
            </a:r>
          </a:p>
        </p:txBody>
      </p:sp>
    </p:spTree>
    <p:extLst>
      <p:ext uri="{BB962C8B-B14F-4D97-AF65-F5344CB8AC3E}">
        <p14:creationId xmlns:p14="http://schemas.microsoft.com/office/powerpoint/2010/main" val="2746965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with Photo – Whi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6AB501C1-9DF6-44B6-A147-29CFF5E96E50}"/>
              </a:ext>
            </a:extLst>
          </p:cNvPr>
          <p:cNvSpPr/>
          <p:nvPr userDrawn="1"/>
        </p:nvSpPr>
        <p:spPr>
          <a:xfrm rot="2700000">
            <a:off x="969033" y="-4049006"/>
            <a:ext cx="6293364" cy="12454818"/>
          </a:xfrm>
          <a:custGeom>
            <a:avLst/>
            <a:gdLst>
              <a:gd name="connsiteX0" fmla="*/ 0 w 6293364"/>
              <a:gd name="connsiteY0" fmla="*/ 6293364 h 12454818"/>
              <a:gd name="connsiteX1" fmla="*/ 6293364 w 6293364"/>
              <a:gd name="connsiteY1" fmla="*/ 0 h 12454818"/>
              <a:gd name="connsiteX2" fmla="*/ 6293364 w 6293364"/>
              <a:gd name="connsiteY2" fmla="*/ 9715045 h 12454818"/>
              <a:gd name="connsiteX3" fmla="*/ 3553591 w 6293364"/>
              <a:gd name="connsiteY3" fmla="*/ 12454818 h 12454818"/>
              <a:gd name="connsiteX4" fmla="*/ 0 w 6293364"/>
              <a:gd name="connsiteY4" fmla="*/ 8901227 h 12454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93364" h="12454818">
                <a:moveTo>
                  <a:pt x="0" y="6293364"/>
                </a:moveTo>
                <a:lnTo>
                  <a:pt x="6293364" y="0"/>
                </a:lnTo>
                <a:lnTo>
                  <a:pt x="6293364" y="9715045"/>
                </a:lnTo>
                <a:lnTo>
                  <a:pt x="3553591" y="12454818"/>
                </a:lnTo>
                <a:lnTo>
                  <a:pt x="0" y="8901227"/>
                </a:lnTo>
                <a:close/>
              </a:path>
            </a:pathLst>
          </a:custGeom>
          <a:gradFill>
            <a:gsLst>
              <a:gs pos="18000">
                <a:schemeClr val="bg1">
                  <a:alpha val="25000"/>
                </a:schemeClr>
              </a:gs>
              <a:gs pos="46000">
                <a:srgbClr val="FFFFFF">
                  <a:alpha val="64000"/>
                </a:srgbClr>
              </a:gs>
              <a:gs pos="77000">
                <a:schemeClr val="bg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48347C3-DAFD-4322-8B75-FAADCB97A100}"/>
              </a:ext>
            </a:extLst>
          </p:cNvPr>
          <p:cNvSpPr txBox="1"/>
          <p:nvPr userDrawn="1"/>
        </p:nvSpPr>
        <p:spPr bwMode="white"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A840448-0A4C-4F83-A1CE-7B630AF6D91D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tx1"/>
          </a:solidFill>
        </p:grpSpPr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33BBD7F2-6BDB-40F5-BE43-2E5C642F40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1898F8B4-B178-4326-B6D0-C409F52A5D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04FAC758-8579-4948-8E17-F881282AF52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9BC37D6E-0610-40BC-A869-ED4C24F40DA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id="{0AD2EDE2-8C04-4779-942A-CD00356199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id="{B9B95322-EB86-42B6-BCDB-3C38F71CED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32" name="Freeform 12">
              <a:extLst>
                <a:ext uri="{FF2B5EF4-FFF2-40B4-BE49-F238E27FC236}">
                  <a16:creationId xmlns:a16="http://schemas.microsoft.com/office/drawing/2014/main" id="{20532F85-7A34-4927-9486-A847F29CF7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10DCB4EB-8A9B-485D-A968-34B397B482C3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©2019 VMware, Inc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6C21BA7-C6D2-446E-8FD2-266107E90C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8912" y="1600200"/>
            <a:ext cx="5413248" cy="3200400"/>
          </a:xfrm>
        </p:spPr>
        <p:txBody>
          <a:bodyPr anchor="b"/>
          <a:lstStyle>
            <a:lvl1pPr marL="169863" indent="-169863">
              <a:buClrTx/>
              <a:buSzPct val="100000"/>
              <a:buFont typeface="Metropolis" panose="00000500000000000000" pitchFamily="2" charset="0"/>
              <a:buChar char="“"/>
              <a:defRPr sz="2800">
                <a:solidFill>
                  <a:schemeClr val="tx2"/>
                </a:solidFill>
              </a:defRPr>
            </a:lvl1pPr>
            <a:lvl2pPr marL="457200" indent="-184150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2pPr>
            <a:lvl3pPr marL="744538" indent="-16986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3pPr>
            <a:lvl4pPr marL="969963" indent="-166688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4pPr>
            <a:lvl5pPr marL="1143000" indent="-13811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762CBDD-60C2-443D-88B5-C596896049D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648" y="5065776"/>
            <a:ext cx="4581144" cy="274320"/>
          </a:xfrm>
        </p:spPr>
        <p:txBody>
          <a:bodyPr/>
          <a:lstStyle>
            <a:lvl1pPr>
              <a:defRPr sz="18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ource Name</a:t>
            </a:r>
          </a:p>
        </p:txBody>
      </p:sp>
    </p:spTree>
    <p:extLst>
      <p:ext uri="{BB962C8B-B14F-4D97-AF65-F5344CB8AC3E}">
        <p14:creationId xmlns:p14="http://schemas.microsoft.com/office/powerpoint/2010/main" val="3168973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D034FA3F-D529-4D8B-B6EC-A8341FCAF67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16505" y="1600201"/>
            <a:ext cx="10972800" cy="4572000"/>
          </a:xfrm>
        </p:spPr>
        <p:txBody>
          <a:bodyPr/>
          <a:lstStyle>
            <a:lvl1pPr>
              <a:spcBef>
                <a:spcPts val="1500"/>
              </a:spcBef>
              <a:defRPr/>
            </a:lvl1pPr>
            <a:lvl2pPr>
              <a:spcBef>
                <a:spcPts val="300"/>
              </a:spcBef>
              <a:defRPr/>
            </a:lvl2pPr>
            <a:lvl5pPr>
              <a:defRPr/>
            </a:lvl5pPr>
            <a:lvl6pPr>
              <a:defRPr/>
            </a:lvl6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27E3E8B-0F66-4996-9785-6E9531D89A5A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latin typeface="+mj-lt"/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216D2F66-BB7F-4F0E-A224-A105F87676EF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11830"/>
            <a:ext cx="1098794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924E83-0498-4D8B-94A0-3FF7CDD8F1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One Line Title</a:t>
            </a:r>
          </a:p>
        </p:txBody>
      </p:sp>
    </p:spTree>
    <p:extLst>
      <p:ext uri="{BB962C8B-B14F-4D97-AF65-F5344CB8AC3E}">
        <p14:creationId xmlns:p14="http://schemas.microsoft.com/office/powerpoint/2010/main" val="2271605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8950B906-C5A3-4658-B24C-B2B533310D26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latin typeface="+mj-lt"/>
            </a:endParaRP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C28211D2-9BBA-4EB9-8867-E2CC72E9E0D1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D90EF1-7A6F-4CAE-80CD-2BC8A8107F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One Line Title</a:t>
            </a:r>
          </a:p>
        </p:txBody>
      </p:sp>
    </p:spTree>
    <p:extLst>
      <p:ext uri="{BB962C8B-B14F-4D97-AF65-F5344CB8AC3E}">
        <p14:creationId xmlns:p14="http://schemas.microsoft.com/office/powerpoint/2010/main" val="1382967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Dynamic –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A9E4CD6E-324F-4BEC-884B-D217C07BF39E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dirty="0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346AD2E-9306-49E7-A98B-7D26E458C2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wrap="none"/>
          <a:lstStyle>
            <a:lvl1pPr>
              <a:defRPr/>
            </a:lvl1pPr>
          </a:lstStyle>
          <a:p>
            <a:r>
              <a:rPr lang="en-US" dirty="0"/>
              <a:t>Click to Add One Line Titl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577AE2CA-1B34-4F04-BD7F-F624F20E94FB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351213" y="1600200"/>
            <a:ext cx="8229600" cy="457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551435C2-3F7C-4835-8DB0-71E2C00537CF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add 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0FD232-93CB-4B54-A933-93C11B099F7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1600200"/>
            <a:ext cx="2894013" cy="4572000"/>
          </a:xfrm>
          <a:solidFill>
            <a:schemeClr val="accent2"/>
          </a:solidFill>
        </p:spPr>
        <p:txBody>
          <a:bodyPr lIns="594360" tIns="457200" rIns="457200" bIns="457200"/>
          <a:lstStyle>
            <a:lvl1pPr>
              <a:defRPr sz="1600">
                <a:solidFill>
                  <a:schemeClr val="bg1"/>
                </a:solidFill>
              </a:defRPr>
            </a:lvl1pPr>
            <a:lvl2pPr marL="171450" indent="-171450"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 marL="342900" indent="-171450">
              <a:buClr>
                <a:schemeClr val="bg1"/>
              </a:buClr>
              <a:defRPr sz="1200">
                <a:solidFill>
                  <a:schemeClr val="bg1"/>
                </a:solidFill>
              </a:defRPr>
            </a:lvl3pPr>
            <a:lvl4pPr marL="514350" indent="-171450"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 marL="742950" indent="-171450"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 sz="1800"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 sz="1400">
                <a:solidFill>
                  <a:schemeClr val="bg1"/>
                </a:solidFill>
              </a:defRPr>
            </a:lvl7pPr>
            <a:lvl8pPr>
              <a:buClrTx/>
              <a:defRPr sz="1200">
                <a:solidFill>
                  <a:schemeClr val="bg1"/>
                </a:solidFill>
              </a:defRPr>
            </a:lvl8pPr>
            <a:lvl9pPr>
              <a:buClrTx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163480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Content Balanc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B6A9629E-98B5-43F5-8323-C894B734208A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00E4C6-16B5-49A9-898A-3B53C5AB06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One Line Tit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38535540-CB20-4CD5-9F73-DB64F5A49CD3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7AF420A-ED2C-4AD1-A28B-EB26178557D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-1" y="1600200"/>
            <a:ext cx="5893593" cy="4572000"/>
          </a:xfrm>
        </p:spPr>
        <p:txBody>
          <a:bodyPr lIns="594360"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400"/>
            </a:lvl7pPr>
            <a:lvl8pPr>
              <a:defRPr sz="1200"/>
            </a:lvl8pPr>
            <a:lvl9pPr>
              <a:defRPr sz="18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5"/>
            <a:endParaRPr lang="en-US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CD860A49-A98C-4F0E-AB34-4E13B89D5EBC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321287" y="1600200"/>
            <a:ext cx="5867538" cy="4572000"/>
          </a:xfrm>
        </p:spPr>
        <p:txBody>
          <a:bodyPr lIns="0" rIns="594360"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400"/>
            </a:lvl7pPr>
            <a:lvl8pPr>
              <a:defRPr sz="1200"/>
            </a:lvl8pPr>
            <a:lvl9pPr>
              <a:defRPr sz="18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 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707015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Content Balanced –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D034FA3F-D529-4D8B-B6EC-A8341FCAF67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ltGray">
          <a:xfrm>
            <a:off x="0" y="1600201"/>
            <a:ext cx="5893593" cy="4572000"/>
          </a:xfrm>
          <a:solidFill>
            <a:schemeClr val="accent4"/>
          </a:solidFill>
        </p:spPr>
        <p:txBody>
          <a:bodyPr vert="horz" lIns="594360" tIns="457200" rIns="457200" bIns="457200" rtlCol="0">
            <a:noAutofit/>
          </a:bodyPr>
          <a:lstStyle>
            <a:lvl1pPr>
              <a:spcBef>
                <a:spcPts val="1200"/>
              </a:spcBef>
              <a:defRPr lang="en-US" sz="1800" dirty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lang="en-US" sz="1600" dirty="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lang="en-US" sz="1400" dirty="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lang="en-US" sz="1200" dirty="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lang="en-US" sz="1200" dirty="0">
                <a:solidFill>
                  <a:schemeClr val="bg1"/>
                </a:solidFill>
              </a:defRPr>
            </a:lvl5pPr>
            <a:lvl6pPr>
              <a:buClrTx/>
              <a:defRPr sz="1800">
                <a:solidFill>
                  <a:schemeClr val="bg1"/>
                </a:solidFill>
              </a:defRPr>
            </a:lvl6pPr>
            <a:lvl7pPr>
              <a:buClrTx/>
              <a:defRPr sz="1400">
                <a:solidFill>
                  <a:schemeClr val="bg1"/>
                </a:solidFill>
              </a:defRPr>
            </a:lvl7pPr>
            <a:lvl8pPr>
              <a:buClrTx/>
              <a:defRPr sz="1200">
                <a:solidFill>
                  <a:schemeClr val="bg1"/>
                </a:solidFill>
              </a:defRPr>
            </a:lvl8pPr>
            <a:lvl9pPr>
              <a:buClrTx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 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72" name="Content Placeholder 17">
            <a:extLst>
              <a:ext uri="{FF2B5EF4-FFF2-40B4-BE49-F238E27FC236}">
                <a16:creationId xmlns:a16="http://schemas.microsoft.com/office/drawing/2014/main" id="{A0456ED3-FDC5-4E29-B939-E35EA08477CA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 bwMode="ltGray">
          <a:xfrm>
            <a:off x="6323381" y="1600201"/>
            <a:ext cx="5865445" cy="4572000"/>
          </a:xfrm>
          <a:solidFill>
            <a:schemeClr val="accent1"/>
          </a:solidFill>
        </p:spPr>
        <p:txBody>
          <a:bodyPr lIns="457200" tIns="457200" rIns="594360"/>
          <a:lstStyle>
            <a:lvl1pPr>
              <a:spcBef>
                <a:spcPts val="1200"/>
              </a:spcBef>
              <a:defRPr sz="18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2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6A9629E-98B5-43F5-8323-C894B734208A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00E4C6-16B5-49A9-898A-3B53C5AB06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One Line Tit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38535540-CB20-4CD5-9F73-DB64F5A49CD3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479927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D034FA3F-D529-4D8B-B6EC-A8341FCAF67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1" y="1600201"/>
            <a:ext cx="5866360" cy="4572000"/>
          </a:xfrm>
          <a:solidFill>
            <a:schemeClr val="bg2"/>
          </a:solidFill>
        </p:spPr>
        <p:txBody>
          <a:bodyPr lIns="594360" tIns="1371600" rIns="548640"/>
          <a:lstStyle>
            <a:lvl1pPr>
              <a:spcBef>
                <a:spcPts val="2400"/>
              </a:spcBef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400"/>
            </a:lvl7pPr>
            <a:lvl8pPr>
              <a:defRPr sz="1200"/>
            </a:lvl8pPr>
            <a:lvl9pPr>
              <a:defRPr sz="18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sp>
        <p:nvSpPr>
          <p:cNvPr id="72" name="Content Placeholder 17">
            <a:extLst>
              <a:ext uri="{FF2B5EF4-FFF2-40B4-BE49-F238E27FC236}">
                <a16:creationId xmlns:a16="http://schemas.microsoft.com/office/drawing/2014/main" id="{A0456ED3-FDC5-4E29-B939-E35EA08477CA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 bwMode="gray">
          <a:xfrm>
            <a:off x="6323381" y="1600201"/>
            <a:ext cx="5865445" cy="4572000"/>
          </a:xfrm>
          <a:solidFill>
            <a:schemeClr val="bg2"/>
          </a:solidFill>
        </p:spPr>
        <p:txBody>
          <a:bodyPr lIns="548640" tIns="1371600" rIns="548640"/>
          <a:lstStyle>
            <a:lvl1pPr>
              <a:spcBef>
                <a:spcPts val="2400"/>
              </a:spcBef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400"/>
            </a:lvl7pPr>
            <a:lvl8pPr>
              <a:defRPr sz="1200"/>
            </a:lvl8pPr>
            <a:lvl9pPr>
              <a:defRPr sz="18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 Seventh level</a:t>
            </a:r>
          </a:p>
          <a:p>
            <a:pPr lvl="7"/>
            <a:r>
              <a:rPr lang="en-US" dirty="0"/>
              <a:t> 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8337636-71A7-4831-B382-F842B3A2949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0" y="1806122"/>
            <a:ext cx="5637213" cy="911225"/>
          </a:xfrm>
          <a:solidFill>
            <a:schemeClr val="accent4"/>
          </a:solidFill>
        </p:spPr>
        <p:txBody>
          <a:bodyPr vert="horz" lIns="594360" tIns="91440" rIns="457200" bIns="91440" rtlCol="0" anchor="ctr">
            <a:noAutofit/>
          </a:bodyPr>
          <a:lstStyle>
            <a:lvl1pPr>
              <a:defRPr lang="en-US"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header 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78A74DE7-78E3-4ECA-9661-D73FBD37E48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551613" y="1806122"/>
            <a:ext cx="5637212" cy="911225"/>
          </a:xfrm>
          <a:solidFill>
            <a:schemeClr val="accent1"/>
          </a:solidFill>
        </p:spPr>
        <p:txBody>
          <a:bodyPr vert="horz" lIns="338328" tIns="91440" rIns="612648" bIns="91440" rtlCol="0" anchor="ctr">
            <a:noAutofit/>
          </a:bodyPr>
          <a:lstStyle>
            <a:lvl1pPr>
              <a:defRPr lang="en-US"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header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92176E5-FE3D-4EA5-BF24-8ABF8BFBF668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6A1FE0B-90B1-4BED-9AA5-6DC9F6424E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One Line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541C7AA-97CA-4F96-9506-F144DA2CD8E2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420814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Dynamic –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A9E4CD6E-324F-4BEC-884B-D217C07BF39E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346AD2E-9306-49E7-A98B-7D26E458C2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wrap="none"/>
          <a:lstStyle>
            <a:lvl1pPr>
              <a:defRPr/>
            </a:lvl1pPr>
          </a:lstStyle>
          <a:p>
            <a:r>
              <a:rPr lang="en-US" dirty="0"/>
              <a:t>Click to Add One Line Titl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577AE2CA-1B34-4F04-BD7F-F624F20E94FB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351213" y="1600200"/>
            <a:ext cx="8229600" cy="457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551435C2-3F7C-4835-8DB0-71E2C00537CF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add 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0FD232-93CB-4B54-A933-93C11B099F7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1600200"/>
            <a:ext cx="2894013" cy="4572000"/>
          </a:xfrm>
          <a:solidFill>
            <a:schemeClr val="accent2"/>
          </a:solidFill>
        </p:spPr>
        <p:txBody>
          <a:bodyPr lIns="594360" tIns="457200" rIns="457200" bIns="457200"/>
          <a:lstStyle>
            <a:lvl1pPr>
              <a:defRPr sz="1600">
                <a:solidFill>
                  <a:schemeClr val="bg1"/>
                </a:solidFill>
              </a:defRPr>
            </a:lvl1pPr>
            <a:lvl2pPr marL="171450" indent="-171450"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 marL="342900" indent="-171450">
              <a:buClr>
                <a:schemeClr val="bg1"/>
              </a:buClr>
              <a:defRPr sz="1200">
                <a:solidFill>
                  <a:schemeClr val="bg1"/>
                </a:solidFill>
              </a:defRPr>
            </a:lvl3pPr>
            <a:lvl4pPr marL="514350" indent="-171450"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 marL="742950" indent="-171450"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 sz="1800"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 sz="1400">
                <a:solidFill>
                  <a:schemeClr val="bg1"/>
                </a:solidFill>
              </a:defRPr>
            </a:lvl7pPr>
            <a:lvl8pPr>
              <a:buClrTx/>
              <a:defRPr sz="1200">
                <a:solidFill>
                  <a:schemeClr val="bg1"/>
                </a:solidFill>
              </a:defRPr>
            </a:lvl8pPr>
            <a:lvl9pPr>
              <a:buClrTx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401788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Dynamic –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460DEEA-0331-45ED-8943-6F9E7488409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08013" y="1600200"/>
            <a:ext cx="8229600" cy="45720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DE1D12F-78DF-4A32-BDDB-1E22FB9CA5D0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92A934A-AC6B-460C-9C93-B13CF6B626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wrap="none"/>
          <a:lstStyle>
            <a:lvl1pPr>
              <a:defRPr/>
            </a:lvl1pPr>
          </a:lstStyle>
          <a:p>
            <a:r>
              <a:rPr lang="en-US" dirty="0"/>
              <a:t>Click to Add One Line Tit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F6F5131D-84AE-4294-83A1-243FE1C81A8A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197ED16-D162-4BF7-B635-2F70E10855A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94813" y="1600200"/>
            <a:ext cx="2894012" cy="4572000"/>
          </a:xfrm>
          <a:solidFill>
            <a:schemeClr val="accent1"/>
          </a:solidFill>
        </p:spPr>
        <p:txBody>
          <a:bodyPr lIns="457200" tIns="457200" rIns="594360" bIns="457200"/>
          <a:lstStyle>
            <a:lvl1pPr>
              <a:defRPr sz="1600">
                <a:solidFill>
                  <a:schemeClr val="bg1"/>
                </a:solidFill>
              </a:defRPr>
            </a:lvl1pPr>
            <a:lvl2pPr marL="171450" indent="-171450"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 marL="342900" indent="-171450">
              <a:buClr>
                <a:schemeClr val="bg1"/>
              </a:buClr>
              <a:defRPr sz="1200">
                <a:solidFill>
                  <a:schemeClr val="bg1"/>
                </a:solidFill>
              </a:defRPr>
            </a:lvl3pPr>
            <a:lvl4pPr marL="514350" indent="-171450"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 marL="685800" indent="-171450"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 Eight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300109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-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D034FA3F-D529-4D8B-B6EC-A8341FCAF67E}"/>
              </a:ext>
            </a:extLst>
          </p:cNvPr>
          <p:cNvSpPr>
            <a:spLocks noGrp="1"/>
          </p:cNvSpPr>
          <p:nvPr userDrawn="1">
            <p:ph sz="quarter" idx="14" hasCustomPrompt="1"/>
          </p:nvPr>
        </p:nvSpPr>
        <p:spPr bwMode="gray">
          <a:xfrm>
            <a:off x="616504" y="2515154"/>
            <a:ext cx="3346929" cy="3657600"/>
          </a:xfrm>
          <a:solidFill>
            <a:schemeClr val="bg2"/>
          </a:solidFill>
        </p:spPr>
        <p:txBody>
          <a:bodyPr lIns="182880" tIns="274320" rIns="182880"/>
          <a:lstStyle>
            <a:lvl1pPr algn="l">
              <a:spcBef>
                <a:spcPts val="1200"/>
              </a:spcBef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200"/>
            </a:lvl7pPr>
            <a:lvl8pPr>
              <a:defRPr sz="1100"/>
            </a:lvl8pPr>
            <a:lvl9pPr>
              <a:defRPr sz="16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Level two</a:t>
            </a:r>
          </a:p>
          <a:p>
            <a:pPr lvl="2"/>
            <a:r>
              <a:rPr lang="en-US" dirty="0"/>
              <a:t>Level three</a:t>
            </a:r>
          </a:p>
          <a:p>
            <a:pPr lvl="3"/>
            <a:r>
              <a:rPr lang="en-US" dirty="0"/>
              <a:t>Level four</a:t>
            </a:r>
          </a:p>
          <a:p>
            <a:pPr lvl="4"/>
            <a:r>
              <a:rPr lang="en-US" dirty="0"/>
              <a:t>Level Five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 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  <a:p>
            <a:pPr lvl="1"/>
            <a:endParaRPr lang="en-US" dirty="0"/>
          </a:p>
        </p:txBody>
      </p:sp>
      <p:sp>
        <p:nvSpPr>
          <p:cNvPr id="72" name="Content Placeholder 17">
            <a:extLst>
              <a:ext uri="{FF2B5EF4-FFF2-40B4-BE49-F238E27FC236}">
                <a16:creationId xmlns:a16="http://schemas.microsoft.com/office/drawing/2014/main" id="{A0456ED3-FDC5-4E29-B939-E35EA08477CA}"/>
              </a:ext>
            </a:extLst>
          </p:cNvPr>
          <p:cNvSpPr>
            <a:spLocks noGrp="1"/>
          </p:cNvSpPr>
          <p:nvPr userDrawn="1">
            <p:ph sz="quarter" idx="16" hasCustomPrompt="1"/>
          </p:nvPr>
        </p:nvSpPr>
        <p:spPr bwMode="gray">
          <a:xfrm>
            <a:off x="4419676" y="2515154"/>
            <a:ext cx="3349473" cy="3657600"/>
          </a:xfrm>
          <a:solidFill>
            <a:schemeClr val="bg2"/>
          </a:solidFill>
        </p:spPr>
        <p:txBody>
          <a:bodyPr lIns="182880" tIns="274320" rIns="182880"/>
          <a:lstStyle>
            <a:lvl1pPr algn="l">
              <a:spcBef>
                <a:spcPts val="1200"/>
              </a:spcBef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200"/>
            </a:lvl7pPr>
            <a:lvl8pPr>
              <a:defRPr sz="1100"/>
            </a:lvl8pPr>
            <a:lvl9pPr>
              <a:defRPr sz="16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Level two</a:t>
            </a:r>
          </a:p>
          <a:p>
            <a:pPr lvl="2"/>
            <a:r>
              <a:rPr lang="en-US" dirty="0"/>
              <a:t>Level three</a:t>
            </a:r>
          </a:p>
          <a:p>
            <a:pPr lvl="3"/>
            <a:r>
              <a:rPr lang="en-US" dirty="0"/>
              <a:t>Level four</a:t>
            </a:r>
          </a:p>
          <a:p>
            <a:pPr lvl="4"/>
            <a:r>
              <a:rPr lang="en-US" dirty="0"/>
              <a:t>Level Five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 Level Seven 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  <a:p>
            <a:pPr lvl="3"/>
            <a:endParaRPr lang="en-US" dirty="0"/>
          </a:p>
          <a:p>
            <a:pPr lvl="1"/>
            <a:endParaRPr lang="en-US" dirty="0"/>
          </a:p>
        </p:txBody>
      </p:sp>
      <p:sp>
        <p:nvSpPr>
          <p:cNvPr id="73" name="Content Placeholder 17">
            <a:extLst>
              <a:ext uri="{FF2B5EF4-FFF2-40B4-BE49-F238E27FC236}">
                <a16:creationId xmlns:a16="http://schemas.microsoft.com/office/drawing/2014/main" id="{9C016467-4262-4DAA-9B43-A02E57530676}"/>
              </a:ext>
            </a:extLst>
          </p:cNvPr>
          <p:cNvSpPr>
            <a:spLocks noGrp="1"/>
          </p:cNvSpPr>
          <p:nvPr userDrawn="1">
            <p:ph sz="quarter" idx="17" hasCustomPrompt="1"/>
          </p:nvPr>
        </p:nvSpPr>
        <p:spPr bwMode="gray">
          <a:xfrm>
            <a:off x="8236361" y="2515154"/>
            <a:ext cx="3346704" cy="3657600"/>
          </a:xfrm>
          <a:solidFill>
            <a:schemeClr val="bg2"/>
          </a:solidFill>
        </p:spPr>
        <p:txBody>
          <a:bodyPr lIns="182880" tIns="274320" rIns="182880"/>
          <a:lstStyle>
            <a:lvl1pPr algn="l">
              <a:spcBef>
                <a:spcPts val="1200"/>
              </a:spcBef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200"/>
            </a:lvl7pPr>
            <a:lvl8pPr>
              <a:defRPr sz="1100"/>
            </a:lvl8pPr>
            <a:lvl9pPr>
              <a:defRPr sz="16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Level two</a:t>
            </a:r>
          </a:p>
          <a:p>
            <a:pPr lvl="2"/>
            <a:r>
              <a:rPr lang="en-US" dirty="0"/>
              <a:t>Level three</a:t>
            </a:r>
          </a:p>
          <a:p>
            <a:pPr lvl="3"/>
            <a:r>
              <a:rPr lang="en-US" dirty="0"/>
              <a:t>Level four</a:t>
            </a:r>
          </a:p>
          <a:p>
            <a:pPr lvl="4"/>
            <a:r>
              <a:rPr lang="en-US" dirty="0"/>
              <a:t>Level five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  <a:p>
            <a:pPr lvl="1"/>
            <a:endParaRPr lang="en-US" dirty="0"/>
          </a:p>
        </p:txBody>
      </p:sp>
      <p:sp>
        <p:nvSpPr>
          <p:cNvPr id="818" name="TextBox 817">
            <a:extLst>
              <a:ext uri="{FF2B5EF4-FFF2-40B4-BE49-F238E27FC236}">
                <a16:creationId xmlns:a16="http://schemas.microsoft.com/office/drawing/2014/main" id="{0B7E1504-B128-423C-AA77-E7FED5DC3B79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F2C94F-DA57-4BDB-8E5C-E4A0C75223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One Line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FC59F98B-A991-4DEC-A409-289E778CB84A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9392189-2D4C-4618-9072-F26EE557FD0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6504" y="1600200"/>
            <a:ext cx="3346704" cy="914400"/>
          </a:xfrm>
          <a:solidFill>
            <a:schemeClr val="accent4"/>
          </a:solidFill>
        </p:spPr>
        <p:txBody>
          <a:bodyPr lIns="182880" tIns="91440" rIns="182880" bIns="91440" anchor="ctr"/>
          <a:lstStyle>
            <a:lvl1pPr>
              <a:defRPr sz="1800">
                <a:solidFill>
                  <a:schemeClr val="bg1"/>
                </a:solidFill>
              </a:defRPr>
            </a:lvl1pPr>
            <a:lvl2pPr marL="0" indent="0">
              <a:buFont typeface="Open Sans" panose="020B0606030504020204" pitchFamily="34" charset="0"/>
              <a:buChar char="​"/>
              <a:defRPr sz="1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header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665955AB-F417-4DCB-8CC3-98BAC90A9AF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419676" y="1600200"/>
            <a:ext cx="3346704" cy="914400"/>
          </a:xfrm>
          <a:solidFill>
            <a:schemeClr val="accent1"/>
          </a:solidFill>
        </p:spPr>
        <p:txBody>
          <a:bodyPr lIns="182880" tIns="91440" rIns="182880" bIns="91440" anchor="ctr"/>
          <a:lstStyle>
            <a:lvl1pPr>
              <a:defRPr sz="1800">
                <a:solidFill>
                  <a:schemeClr val="bg1"/>
                </a:solidFill>
              </a:defRPr>
            </a:lvl1pPr>
            <a:lvl2pPr marL="0" indent="0">
              <a:buFont typeface="Open Sans" panose="020B0606030504020204" pitchFamily="34" charset="0"/>
              <a:buChar char="​"/>
              <a:defRPr sz="1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header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7AFB5407-642C-468A-81DB-F0C5C485F6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36361" y="1600200"/>
            <a:ext cx="3346704" cy="914400"/>
          </a:xfrm>
          <a:solidFill>
            <a:schemeClr val="accent2"/>
          </a:solidFill>
        </p:spPr>
        <p:txBody>
          <a:bodyPr lIns="182880" tIns="91440" rIns="182880" bIns="91440" anchor="ctr"/>
          <a:lstStyle>
            <a:lvl1pPr>
              <a:defRPr sz="1800">
                <a:solidFill>
                  <a:schemeClr val="bg1"/>
                </a:solidFill>
              </a:defRPr>
            </a:lvl1pPr>
            <a:lvl2pPr marL="0" indent="0">
              <a:buFont typeface="Open Sans" panose="020B0606030504020204" pitchFamily="34" charset="0"/>
              <a:buChar char="​"/>
              <a:defRPr sz="1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2420954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30CD733-93DE-4793-929B-26E6DBA7592D}"/>
              </a:ext>
            </a:extLst>
          </p:cNvPr>
          <p:cNvSpPr/>
          <p:nvPr userDrawn="1"/>
        </p:nvSpPr>
        <p:spPr bwMode="ltGray">
          <a:xfrm>
            <a:off x="1" y="1600202"/>
            <a:ext cx="7923212" cy="4570946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>
              <a:solidFill>
                <a:schemeClr val="accent2"/>
              </a:solidFill>
            </a:endParaRP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D8C8783A-257B-4A50-95A0-6C7B8E51707B}"/>
              </a:ext>
            </a:extLst>
          </p:cNvPr>
          <p:cNvCxnSpPr>
            <a:cxnSpLocks/>
          </p:cNvCxnSpPr>
          <p:nvPr userDrawn="1"/>
        </p:nvCxnSpPr>
        <p:spPr>
          <a:xfrm>
            <a:off x="8380413" y="1608668"/>
            <a:ext cx="3808412" cy="0"/>
          </a:xfrm>
          <a:prstGeom prst="line">
            <a:avLst/>
          </a:prstGeom>
          <a:ln w="25400">
            <a:solidFill>
              <a:schemeClr val="accent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3A17EA1E-A574-444B-9004-45836D98DAD0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157BCD9-063B-4ED4-B68C-092EC2C342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wrap="none"/>
          <a:lstStyle>
            <a:lvl1pPr>
              <a:defRPr/>
            </a:lvl1pPr>
          </a:lstStyle>
          <a:p>
            <a:r>
              <a:rPr lang="en-US" dirty="0"/>
              <a:t>Click to Add One Line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F7496CC-9DD2-4299-850C-005958FB65C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0413" y="1600200"/>
            <a:ext cx="3808412" cy="4572000"/>
          </a:xfrm>
        </p:spPr>
        <p:txBody>
          <a:bodyPr tIns="457200" rIns="594360" bIns="457200"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400"/>
            </a:lvl7pPr>
            <a:lvl8pPr>
              <a:defRPr sz="1200"/>
            </a:lvl8pPr>
            <a:lvl9pPr>
              <a:defRPr sz="18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 Seventh level</a:t>
            </a:r>
          </a:p>
          <a:p>
            <a:pPr lvl="7"/>
            <a:r>
              <a:rPr lang="en-US" dirty="0"/>
              <a:t> 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A0D276D7-17CD-46AB-99B2-97FD34FEEFFA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80121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tcome / Benef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BB1458BF-96C1-46C6-A67F-AD0FB4B4E5C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78825" y="4347904"/>
            <a:ext cx="3201988" cy="1600200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8781D19-2DDB-4D83-983D-3D159A7DE7C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78825" y="2063048"/>
            <a:ext cx="3201988" cy="1600200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005EB21-86C3-42EF-BFE7-549D9EA364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0413" y="1699688"/>
            <a:ext cx="2006600" cy="298450"/>
          </a:xfrm>
        </p:spPr>
        <p:txBody>
          <a:bodyPr anchor="b"/>
          <a:lstStyle>
            <a:lvl1pPr>
              <a:defRPr sz="1600">
                <a:solidFill>
                  <a:schemeClr val="accent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Outcome</a:t>
            </a:r>
          </a:p>
        </p:txBody>
      </p: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F789B473-DDE6-4450-A111-3761F341AAE3}"/>
              </a:ext>
            </a:extLst>
          </p:cNvPr>
          <p:cNvCxnSpPr>
            <a:cxnSpLocks/>
          </p:cNvCxnSpPr>
          <p:nvPr userDrawn="1"/>
        </p:nvCxnSpPr>
        <p:spPr>
          <a:xfrm>
            <a:off x="8380413" y="3872441"/>
            <a:ext cx="3808412" cy="0"/>
          </a:xfrm>
          <a:prstGeom prst="line">
            <a:avLst/>
          </a:prstGeom>
          <a:ln w="25400">
            <a:solidFill>
              <a:schemeClr val="accent4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 Placeholder 6">
            <a:extLst>
              <a:ext uri="{FF2B5EF4-FFF2-40B4-BE49-F238E27FC236}">
                <a16:creationId xmlns:a16="http://schemas.microsoft.com/office/drawing/2014/main" id="{0D0977FA-A4CA-4F1F-8109-D7498D165ED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80413" y="3972469"/>
            <a:ext cx="2006600" cy="298450"/>
          </a:xfrm>
        </p:spPr>
        <p:txBody>
          <a:bodyPr anchor="b"/>
          <a:lstStyle>
            <a:lvl1pPr>
              <a:defRPr sz="1600">
                <a:solidFill>
                  <a:schemeClr val="accent4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Benefi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F992B4C-D72B-4160-80E2-5EE05E2DDD3F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E15888C-CFB4-4BEC-9B94-46E698DFC4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wrap="none"/>
          <a:lstStyle>
            <a:lvl1pPr>
              <a:defRPr/>
            </a:lvl1pPr>
          </a:lstStyle>
          <a:p>
            <a:r>
              <a:rPr lang="en-US" dirty="0"/>
              <a:t>Click to Add One Line Tit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2EE86E2-0F2F-484B-8170-3AEBA1DDEB2D}"/>
              </a:ext>
            </a:extLst>
          </p:cNvPr>
          <p:cNvSpPr/>
          <p:nvPr userDrawn="1"/>
        </p:nvSpPr>
        <p:spPr bwMode="ltGray">
          <a:xfrm>
            <a:off x="1" y="1600201"/>
            <a:ext cx="7923212" cy="457094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>
              <a:solidFill>
                <a:schemeClr val="accent2"/>
              </a:solidFill>
            </a:endParaRPr>
          </a:p>
        </p:txBody>
      </p: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56D4D92B-574E-4F63-A5BA-8F7282B54C27}"/>
              </a:ext>
            </a:extLst>
          </p:cNvPr>
          <p:cNvCxnSpPr>
            <a:cxnSpLocks/>
          </p:cNvCxnSpPr>
          <p:nvPr userDrawn="1"/>
        </p:nvCxnSpPr>
        <p:spPr>
          <a:xfrm>
            <a:off x="8380413" y="1608668"/>
            <a:ext cx="3808412" cy="0"/>
          </a:xfrm>
          <a:prstGeom prst="line">
            <a:avLst/>
          </a:prstGeom>
          <a:ln w="25400">
            <a:solidFill>
              <a:schemeClr val="accent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Subtitle 2">
            <a:extLst>
              <a:ext uri="{FF2B5EF4-FFF2-40B4-BE49-F238E27FC236}">
                <a16:creationId xmlns:a16="http://schemas.microsoft.com/office/drawing/2014/main" id="{E9D6A872-88BD-4DFC-AFFD-1E9BEEB6533B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758682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Succ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309367CD-64CE-4B7B-91B1-53B17F8F693D}"/>
              </a:ext>
            </a:extLst>
          </p:cNvPr>
          <p:cNvSpPr/>
          <p:nvPr userDrawn="1"/>
        </p:nvSpPr>
        <p:spPr bwMode="ltGray">
          <a:xfrm>
            <a:off x="1" y="1600201"/>
            <a:ext cx="7923212" cy="457094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US" sz="2800">
              <a:solidFill>
                <a:schemeClr val="accent2"/>
              </a:solidFill>
            </a:endParaRPr>
          </a:p>
        </p:txBody>
      </p:sp>
      <p:sp>
        <p:nvSpPr>
          <p:cNvPr id="72" name="Content Placeholder 17">
            <a:extLst>
              <a:ext uri="{FF2B5EF4-FFF2-40B4-BE49-F238E27FC236}">
                <a16:creationId xmlns:a16="http://schemas.microsoft.com/office/drawing/2014/main" id="{A0456ED3-FDC5-4E29-B939-E35EA08477CA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11645" y="2409552"/>
            <a:ext cx="3201848" cy="934931"/>
          </a:xfrm>
          <a:noFill/>
        </p:spPr>
        <p:txBody>
          <a:bodyPr vert="horz" lIns="0" tIns="0" rIns="0" bIns="45720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1050" dirty="0">
                <a:solidFill>
                  <a:schemeClr val="tx2"/>
                </a:solidFill>
              </a:defRPr>
            </a:lvl1pPr>
            <a:lvl2pPr marL="114300" indent="-114300">
              <a:lnSpc>
                <a:spcPct val="100000"/>
              </a:lnSpc>
              <a:spcBef>
                <a:spcPts val="0"/>
              </a:spcBef>
              <a:defRPr lang="en-US" sz="1000" dirty="0">
                <a:solidFill>
                  <a:schemeClr val="tx2"/>
                </a:solidFill>
              </a:defRPr>
            </a:lvl2pPr>
            <a:lvl3pPr>
              <a:defRPr lang="en-US" sz="1400" dirty="0">
                <a:solidFill>
                  <a:schemeClr val="tx2"/>
                </a:solidFill>
              </a:defRPr>
            </a:lvl3pPr>
            <a:lvl4pPr>
              <a:defRPr lang="en-US" sz="1200" dirty="0">
                <a:solidFill>
                  <a:schemeClr val="tx2"/>
                </a:solidFill>
              </a:defRPr>
            </a:lvl4pPr>
            <a:lvl5pPr>
              <a:defRPr lang="en-US" sz="1200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005EB21-86C3-42EF-BFE7-549D9EA364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3093" y="2079840"/>
            <a:ext cx="2006600" cy="227454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About</a:t>
            </a:r>
          </a:p>
        </p:txBody>
      </p:sp>
      <p:sp>
        <p:nvSpPr>
          <p:cNvPr id="74" name="Content Placeholder 17">
            <a:extLst>
              <a:ext uri="{FF2B5EF4-FFF2-40B4-BE49-F238E27FC236}">
                <a16:creationId xmlns:a16="http://schemas.microsoft.com/office/drawing/2014/main" id="{F00013B6-2241-400E-9E61-946C485F8D5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11645" y="3952605"/>
            <a:ext cx="3201848" cy="847996"/>
          </a:xfrm>
          <a:noFill/>
        </p:spPr>
        <p:txBody>
          <a:bodyPr vert="horz" lIns="0" tIns="0" rIns="0" bIns="45720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1050" dirty="0">
                <a:solidFill>
                  <a:schemeClr val="tx2"/>
                </a:solidFill>
              </a:defRPr>
            </a:lvl1pPr>
            <a:lvl2pPr marL="114300" indent="-114300">
              <a:lnSpc>
                <a:spcPct val="100000"/>
              </a:lnSpc>
              <a:spcBef>
                <a:spcPts val="0"/>
              </a:spcBef>
              <a:defRPr lang="en-US" sz="1000" dirty="0">
                <a:solidFill>
                  <a:schemeClr val="tx2"/>
                </a:solidFill>
              </a:defRPr>
            </a:lvl2pPr>
            <a:lvl3pPr>
              <a:defRPr lang="en-US" sz="1400" dirty="0">
                <a:solidFill>
                  <a:schemeClr val="tx2"/>
                </a:solidFill>
              </a:defRPr>
            </a:lvl3pPr>
            <a:lvl4pPr>
              <a:defRPr lang="en-US" sz="1200" dirty="0">
                <a:solidFill>
                  <a:schemeClr val="tx2"/>
                </a:solidFill>
              </a:defRPr>
            </a:lvl4pPr>
            <a:lvl5pPr>
              <a:defRPr lang="en-US" sz="1200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D8C8783A-257B-4A50-95A0-6C7B8E51707B}"/>
              </a:ext>
            </a:extLst>
          </p:cNvPr>
          <p:cNvCxnSpPr>
            <a:cxnSpLocks/>
          </p:cNvCxnSpPr>
          <p:nvPr userDrawn="1"/>
        </p:nvCxnSpPr>
        <p:spPr>
          <a:xfrm>
            <a:off x="609600" y="1964843"/>
            <a:ext cx="3198812" cy="0"/>
          </a:xfrm>
          <a:prstGeom prst="line">
            <a:avLst/>
          </a:prstGeom>
          <a:ln w="25400">
            <a:solidFill>
              <a:schemeClr val="accent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F789B473-DDE6-4450-A111-3761F341AAE3}"/>
              </a:ext>
            </a:extLst>
          </p:cNvPr>
          <p:cNvCxnSpPr>
            <a:cxnSpLocks/>
          </p:cNvCxnSpPr>
          <p:nvPr userDrawn="1"/>
        </p:nvCxnSpPr>
        <p:spPr>
          <a:xfrm>
            <a:off x="609600" y="3547676"/>
            <a:ext cx="3198812" cy="0"/>
          </a:xfrm>
          <a:prstGeom prst="line">
            <a:avLst/>
          </a:prstGeom>
          <a:ln w="25400">
            <a:solidFill>
              <a:schemeClr val="accent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 Placeholder 6">
            <a:extLst>
              <a:ext uri="{FF2B5EF4-FFF2-40B4-BE49-F238E27FC236}">
                <a16:creationId xmlns:a16="http://schemas.microsoft.com/office/drawing/2014/main" id="{0D0977FA-A4CA-4F1F-8109-D7498D165EDD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613093" y="3634037"/>
            <a:ext cx="2006600" cy="227454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halleng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F992B4C-D72B-4160-80E2-5EE05E2DDD3F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100000"/>
                </a:lnSpc>
                <a:spcBef>
                  <a:spcPts val="0"/>
                </a:spcBef>
              </a:pPr>
              <a:t>‹#›</a:t>
            </a:fld>
            <a:endParaRPr lang="en-US">
              <a:latin typeface="+mj-lt"/>
            </a:endParaRPr>
          </a:p>
        </p:txBody>
      </p:sp>
      <p:sp>
        <p:nvSpPr>
          <p:cNvPr id="87" name="Content Placeholder 17">
            <a:extLst>
              <a:ext uri="{FF2B5EF4-FFF2-40B4-BE49-F238E27FC236}">
                <a16:creationId xmlns:a16="http://schemas.microsoft.com/office/drawing/2014/main" id="{CB3B18B9-1B70-4F2B-86D9-C5183A845D12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269245" y="2409552"/>
            <a:ext cx="3201848" cy="934931"/>
          </a:xfrm>
          <a:noFill/>
        </p:spPr>
        <p:txBody>
          <a:bodyPr vert="horz" lIns="0" tIns="0" rIns="0" bIns="45720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1050" dirty="0">
                <a:solidFill>
                  <a:schemeClr val="tx2"/>
                </a:solidFill>
              </a:defRPr>
            </a:lvl1pPr>
            <a:lvl2pPr marL="114300" indent="-114300">
              <a:lnSpc>
                <a:spcPct val="100000"/>
              </a:lnSpc>
              <a:spcBef>
                <a:spcPts val="0"/>
              </a:spcBef>
              <a:defRPr lang="en-US" sz="1000" dirty="0">
                <a:solidFill>
                  <a:schemeClr val="tx2"/>
                </a:solidFill>
              </a:defRPr>
            </a:lvl2pPr>
            <a:lvl3pPr>
              <a:defRPr lang="en-US" sz="1400" dirty="0">
                <a:solidFill>
                  <a:schemeClr val="tx2"/>
                </a:solidFill>
              </a:defRPr>
            </a:lvl3pPr>
            <a:lvl4pPr>
              <a:defRPr lang="en-US" sz="1200" dirty="0">
                <a:solidFill>
                  <a:schemeClr val="tx2"/>
                </a:solidFill>
              </a:defRPr>
            </a:lvl4pPr>
            <a:lvl5pPr>
              <a:defRPr lang="en-US" sz="1200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8" name="Text Placeholder 6">
            <a:extLst>
              <a:ext uri="{FF2B5EF4-FFF2-40B4-BE49-F238E27FC236}">
                <a16:creationId xmlns:a16="http://schemas.microsoft.com/office/drawing/2014/main" id="{45C2837B-EA55-4186-A2EA-1E7FB5B122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70693" y="2079840"/>
            <a:ext cx="2006600" cy="227454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4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Solution</a:t>
            </a:r>
          </a:p>
        </p:txBody>
      </p:sp>
      <p:sp>
        <p:nvSpPr>
          <p:cNvPr id="89" name="Content Placeholder 17">
            <a:extLst>
              <a:ext uri="{FF2B5EF4-FFF2-40B4-BE49-F238E27FC236}">
                <a16:creationId xmlns:a16="http://schemas.microsoft.com/office/drawing/2014/main" id="{00A3A11C-EA43-4ACC-83B9-C4C7C1080E3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269245" y="3952605"/>
            <a:ext cx="3201848" cy="847996"/>
          </a:xfrm>
          <a:noFill/>
        </p:spPr>
        <p:txBody>
          <a:bodyPr vert="horz" lIns="0" tIns="0" rIns="0" bIns="45720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1050" dirty="0">
                <a:solidFill>
                  <a:schemeClr val="tx2"/>
                </a:solidFill>
              </a:defRPr>
            </a:lvl1pPr>
            <a:lvl2pPr marL="114300" indent="-114300">
              <a:lnSpc>
                <a:spcPct val="100000"/>
              </a:lnSpc>
              <a:spcBef>
                <a:spcPts val="0"/>
              </a:spcBef>
              <a:defRPr lang="en-US" sz="1000" dirty="0">
                <a:solidFill>
                  <a:schemeClr val="tx2"/>
                </a:solidFill>
              </a:defRPr>
            </a:lvl2pPr>
            <a:lvl3pPr>
              <a:defRPr lang="en-US" sz="1400" dirty="0">
                <a:solidFill>
                  <a:schemeClr val="tx2"/>
                </a:solidFill>
              </a:defRPr>
            </a:lvl3pPr>
            <a:lvl4pPr>
              <a:defRPr lang="en-US" sz="1200" dirty="0">
                <a:solidFill>
                  <a:schemeClr val="tx2"/>
                </a:solidFill>
              </a:defRPr>
            </a:lvl4pPr>
            <a:lvl5pPr>
              <a:defRPr lang="en-US" sz="1200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EAAB5B3C-AE89-4605-BB4B-0C07DE733C40}"/>
              </a:ext>
            </a:extLst>
          </p:cNvPr>
          <p:cNvCxnSpPr>
            <a:cxnSpLocks/>
          </p:cNvCxnSpPr>
          <p:nvPr userDrawn="1"/>
        </p:nvCxnSpPr>
        <p:spPr>
          <a:xfrm>
            <a:off x="4267200" y="1964843"/>
            <a:ext cx="3198812" cy="0"/>
          </a:xfrm>
          <a:prstGeom prst="line">
            <a:avLst/>
          </a:prstGeom>
          <a:ln w="25400">
            <a:solidFill>
              <a:schemeClr val="accent4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4709593A-BC10-40A3-842E-346F6E0EE30C}"/>
              </a:ext>
            </a:extLst>
          </p:cNvPr>
          <p:cNvCxnSpPr>
            <a:cxnSpLocks/>
          </p:cNvCxnSpPr>
          <p:nvPr userDrawn="1"/>
        </p:nvCxnSpPr>
        <p:spPr>
          <a:xfrm>
            <a:off x="4267200" y="3547676"/>
            <a:ext cx="3198812" cy="0"/>
          </a:xfrm>
          <a:prstGeom prst="line">
            <a:avLst/>
          </a:prstGeom>
          <a:ln w="25400">
            <a:solidFill>
              <a:schemeClr val="accent6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Text Placeholder 6">
            <a:extLst>
              <a:ext uri="{FF2B5EF4-FFF2-40B4-BE49-F238E27FC236}">
                <a16:creationId xmlns:a16="http://schemas.microsoft.com/office/drawing/2014/main" id="{48CE9E08-388B-4458-B1F4-453A8413D63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70693" y="3634037"/>
            <a:ext cx="2006600" cy="227454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6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Impact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D909953-1B24-4C7D-A173-A53DF3FC7EC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382000" y="2971800"/>
            <a:ext cx="3194050" cy="18288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D0ED48B1-3A1C-41E2-BEC6-E8E6B54A07B0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9074150" y="1600200"/>
            <a:ext cx="1841500" cy="660399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defRPr/>
            </a:lvl1pPr>
          </a:lstStyle>
          <a:p>
            <a:r>
              <a:rPr lang="en-US"/>
              <a:t>Insert Logo he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0A78DDD-5F83-4940-98A7-CF6D7FB8140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82000" y="5022214"/>
            <a:ext cx="3200400" cy="1153795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400"/>
            </a:lvl1pPr>
            <a:lvl2pPr marL="0" indent="0" algn="ctr">
              <a:lnSpc>
                <a:spcPct val="100000"/>
              </a:lnSpc>
              <a:spcBef>
                <a:spcPts val="0"/>
              </a:spcBef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2pPr>
            <a:lvl3pPr marL="0" indent="0" algn="ctr">
              <a:buFont typeface="Open Sans" panose="020B0606030504020204" pitchFamily="34" charset="0"/>
              <a:buNone/>
              <a:defRPr sz="1200">
                <a:solidFill>
                  <a:schemeClr val="accent1"/>
                </a:solidFill>
              </a:defRPr>
            </a:lvl3pPr>
            <a:lvl4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4pPr>
            <a:lvl5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3" name="Text Placeholder 10">
            <a:extLst>
              <a:ext uri="{FF2B5EF4-FFF2-40B4-BE49-F238E27FC236}">
                <a16:creationId xmlns:a16="http://schemas.microsoft.com/office/drawing/2014/main" id="{356F2006-5264-4FEB-8EBA-8BA6A55D19B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75650" y="2347933"/>
            <a:ext cx="3206750" cy="241300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defRPr sz="1200"/>
            </a:lvl1pPr>
            <a:lvl2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2pPr>
            <a:lvl3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3pPr>
            <a:lvl4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4pPr>
            <a:lvl5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Location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AF7F59A-4C67-4F41-A6E0-906850EDF3F1}"/>
              </a:ext>
            </a:extLst>
          </p:cNvPr>
          <p:cNvSpPr/>
          <p:nvPr userDrawn="1"/>
        </p:nvSpPr>
        <p:spPr>
          <a:xfrm>
            <a:off x="608739" y="4978399"/>
            <a:ext cx="3204753" cy="879645"/>
          </a:xfrm>
          <a:prstGeom prst="rect">
            <a:avLst/>
          </a:prstGeom>
          <a:gradFill>
            <a:gsLst>
              <a:gs pos="0">
                <a:schemeClr val="accent4"/>
              </a:gs>
              <a:gs pos="98000">
                <a:schemeClr val="accent4"/>
              </a:gs>
            </a:gsLst>
            <a:lin ang="5400000" scaled="1"/>
          </a:gradFill>
        </p:spPr>
        <p:txBody>
          <a:bodyPr vert="horz" lIns="594360" tIns="457200" rIns="457200" bIns="457200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​"/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85779326-D874-4DC4-BA73-C7157B414B05}"/>
              </a:ext>
            </a:extLst>
          </p:cNvPr>
          <p:cNvSpPr/>
          <p:nvPr userDrawn="1"/>
        </p:nvSpPr>
        <p:spPr>
          <a:xfrm>
            <a:off x="4267199" y="4978400"/>
            <a:ext cx="3203893" cy="878840"/>
          </a:xfrm>
          <a:prstGeom prst="rect">
            <a:avLst/>
          </a:prstGeom>
          <a:solidFill>
            <a:schemeClr val="accent1"/>
          </a:solidFill>
        </p:spPr>
        <p:txBody>
          <a:bodyPr vert="horz" lIns="457200" tIns="457200" rIns="594360" bIns="0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​"/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0FD359B-DBB1-4A58-B3A5-88DBD360EF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ompany Name</a:t>
            </a:r>
          </a:p>
        </p:txBody>
      </p:sp>
      <p:sp>
        <p:nvSpPr>
          <p:cNvPr id="27" name="Subtitle 2">
            <a:extLst>
              <a:ext uri="{FF2B5EF4-FFF2-40B4-BE49-F238E27FC236}">
                <a16:creationId xmlns:a16="http://schemas.microsoft.com/office/drawing/2014/main" id="{9A29AA74-2865-4B6A-BD11-7A351A336A6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09C7727F-F570-4AF1-856D-98544836237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75650" y="2647290"/>
            <a:ext cx="3206750" cy="241300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defRPr sz="1200"/>
            </a:lvl1pPr>
            <a:lvl2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2pPr>
            <a:lvl3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3pPr>
            <a:lvl4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4pPr>
            <a:lvl5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Industry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F13DC67D-58A2-45BD-A728-B6ECDD8B5A5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3093" y="4978400"/>
            <a:ext cx="3200400" cy="227454"/>
          </a:xfrm>
        </p:spPr>
        <p:txBody>
          <a:bodyPr anchor="b"/>
          <a:lstStyle>
            <a:lvl1pPr algn="ctr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Product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53D9F0A4-74F4-4BA6-AD21-4791EF0A20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273995" y="4978400"/>
            <a:ext cx="3200400" cy="227454"/>
          </a:xfrm>
        </p:spPr>
        <p:txBody>
          <a:bodyPr anchor="b"/>
          <a:lstStyle>
            <a:lvl1pPr algn="ctr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Strategic Priorities</a:t>
            </a:r>
          </a:p>
        </p:txBody>
      </p:sp>
    </p:spTree>
    <p:extLst>
      <p:ext uri="{BB962C8B-B14F-4D97-AF65-F5344CB8AC3E}">
        <p14:creationId xmlns:p14="http://schemas.microsoft.com/office/powerpoint/2010/main" val="1334842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-Bleed Phot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7F5379A2-B049-4A1C-A18D-79A1F237E82B}"/>
              </a:ext>
            </a:extLst>
          </p:cNvPr>
          <p:cNvSpPr txBox="1"/>
          <p:nvPr userDrawn="1"/>
        </p:nvSpPr>
        <p:spPr bwMode="white"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bg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82963ABA-B135-4D13-8059-831B7A9446D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1" y="6766560"/>
            <a:ext cx="12188825" cy="95225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EEA9A53D-C1B8-4AC0-AF50-F242E124EF75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A5945F4E-578F-4EE5-B98E-A75643A79F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19DCDB05-0E28-45DE-9267-3E480A2300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9C693093-F44C-4AF7-8565-38BF0EC750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83C36CFC-0A28-4E5C-BEAB-B63CE60700F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45A3F9BB-BAC6-4065-B81D-9F3DF81635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1" name="Freeform 11">
              <a:extLst>
                <a:ext uri="{FF2B5EF4-FFF2-40B4-BE49-F238E27FC236}">
                  <a16:creationId xmlns:a16="http://schemas.microsoft.com/office/drawing/2014/main" id="{2C0EF4D9-E299-4B39-8F2A-BD56CEC524B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2" name="Freeform 12">
              <a:extLst>
                <a:ext uri="{FF2B5EF4-FFF2-40B4-BE49-F238E27FC236}">
                  <a16:creationId xmlns:a16="http://schemas.microsoft.com/office/drawing/2014/main" id="{51F9A586-3983-444B-A345-4A891295D74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0566660B-2EAC-47CE-944F-D039B1DF2E0F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fidential   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©2019 VMware, Inc.</a:t>
            </a:r>
          </a:p>
        </p:txBody>
      </p:sp>
    </p:spTree>
    <p:extLst>
      <p:ext uri="{BB962C8B-B14F-4D97-AF65-F5344CB8AC3E}">
        <p14:creationId xmlns:p14="http://schemas.microsoft.com/office/powerpoint/2010/main" val="2564076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Dynamic –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460DEEA-0331-45ED-8943-6F9E7488409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08013" y="1600200"/>
            <a:ext cx="8229600" cy="45720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DE1D12F-78DF-4A32-BDDB-1E22FB9CA5D0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dirty="0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92A934A-AC6B-460C-9C93-B13CF6B626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wrap="none"/>
          <a:lstStyle>
            <a:lvl1pPr>
              <a:defRPr/>
            </a:lvl1pPr>
          </a:lstStyle>
          <a:p>
            <a:r>
              <a:rPr lang="en-US" dirty="0"/>
              <a:t>Click to Add One Line Tit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F6F5131D-84AE-4294-83A1-243FE1C81A8A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197ED16-D162-4BF7-B635-2F70E10855A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94813" y="1600200"/>
            <a:ext cx="2894012" cy="4572000"/>
          </a:xfrm>
          <a:solidFill>
            <a:schemeClr val="accent1"/>
          </a:solidFill>
        </p:spPr>
        <p:txBody>
          <a:bodyPr lIns="457200" tIns="457200" rIns="594360" bIns="457200"/>
          <a:lstStyle>
            <a:lvl1pPr>
              <a:defRPr sz="1600">
                <a:solidFill>
                  <a:schemeClr val="bg1"/>
                </a:solidFill>
              </a:defRPr>
            </a:lvl1pPr>
            <a:lvl2pPr marL="171450" indent="-171450"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 marL="342900" indent="-171450">
              <a:buClr>
                <a:schemeClr val="bg1"/>
              </a:buClr>
              <a:defRPr sz="1200">
                <a:solidFill>
                  <a:schemeClr val="bg1"/>
                </a:solidFill>
              </a:defRPr>
            </a:lvl3pPr>
            <a:lvl4pPr marL="514350" indent="-171450"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 marL="685800" indent="-171450"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 Eight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568656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c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val 20">
            <a:extLst>
              <a:ext uri="{FF2B5EF4-FFF2-40B4-BE49-F238E27FC236}">
                <a16:creationId xmlns:a16="http://schemas.microsoft.com/office/drawing/2014/main" id="{B1C210DC-5DBB-4F0D-875F-CD8AAAB938CE}"/>
              </a:ext>
            </a:extLst>
          </p:cNvPr>
          <p:cNvSpPr/>
          <p:nvPr userDrawn="1"/>
        </p:nvSpPr>
        <p:spPr bwMode="gray">
          <a:xfrm>
            <a:off x="1981877" y="2055429"/>
            <a:ext cx="1828959" cy="1828959"/>
          </a:xfrm>
          <a:prstGeom prst="ellipse">
            <a:avLst/>
          </a:prstGeom>
          <a:solidFill>
            <a:schemeClr val="accent4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accent4"/>
              </a:solidFill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446F04B0-7860-407F-85B7-42E38FAFE34B}"/>
              </a:ext>
            </a:extLst>
          </p:cNvPr>
          <p:cNvSpPr/>
          <p:nvPr userDrawn="1"/>
        </p:nvSpPr>
        <p:spPr bwMode="gray">
          <a:xfrm>
            <a:off x="8389301" y="2055429"/>
            <a:ext cx="1828959" cy="1828959"/>
          </a:xfrm>
          <a:prstGeom prst="ellipse">
            <a:avLst/>
          </a:prstGeom>
          <a:solidFill>
            <a:schemeClr val="accent2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6FECF9D0-D7A8-43DD-B38D-E1090C0B322F}"/>
              </a:ext>
            </a:extLst>
          </p:cNvPr>
          <p:cNvSpPr/>
          <p:nvPr userDrawn="1"/>
        </p:nvSpPr>
        <p:spPr bwMode="gray">
          <a:xfrm>
            <a:off x="5184924" y="2055429"/>
            <a:ext cx="1828959" cy="1828959"/>
          </a:xfrm>
          <a:prstGeom prst="ellipse">
            <a:avLst/>
          </a:prstGeom>
          <a:solidFill>
            <a:schemeClr val="accent1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AD23688F-2550-4740-B5D6-C78F74FDE08D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4C5A99F-0678-4DC4-A266-1AD031E9C8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One Line Tit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EBF1472-E940-4CC7-B5D3-349346A425A8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CC9B40-9AF4-4EF7-8384-2ACE79EA95C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25905" y="4267940"/>
            <a:ext cx="2744788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accent4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D69CA39A-E967-4A68-A944-35C345A456D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21225" y="4267940"/>
            <a:ext cx="2744788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accent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41A16A22-350B-4B24-A3CD-4D5DE470DEE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923213" y="4267940"/>
            <a:ext cx="2744788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828745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c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Oval 83">
            <a:extLst>
              <a:ext uri="{FF2B5EF4-FFF2-40B4-BE49-F238E27FC236}">
                <a16:creationId xmlns:a16="http://schemas.microsoft.com/office/drawing/2014/main" id="{085441A7-EBA5-4ABB-8D29-CE4338F0F9B5}"/>
              </a:ext>
            </a:extLst>
          </p:cNvPr>
          <p:cNvSpPr/>
          <p:nvPr userDrawn="1"/>
        </p:nvSpPr>
        <p:spPr bwMode="gray">
          <a:xfrm>
            <a:off x="1065749" y="2060872"/>
            <a:ext cx="1828959" cy="1828959"/>
          </a:xfrm>
          <a:prstGeom prst="ellipse">
            <a:avLst/>
          </a:prstGeom>
          <a:solidFill>
            <a:schemeClr val="accent4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accent4"/>
              </a:solidFill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3019BB56-AE7C-42CA-A8FF-432F4F176B8B}"/>
              </a:ext>
            </a:extLst>
          </p:cNvPr>
          <p:cNvSpPr/>
          <p:nvPr userDrawn="1"/>
        </p:nvSpPr>
        <p:spPr bwMode="gray">
          <a:xfrm>
            <a:off x="9302132" y="2060872"/>
            <a:ext cx="1828959" cy="1828959"/>
          </a:xfrm>
          <a:prstGeom prst="ellipse">
            <a:avLst/>
          </a:prstGeom>
          <a:solidFill>
            <a:schemeClr val="accent2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5670C03F-6336-45E3-A9F4-0CD130D80D1B}"/>
              </a:ext>
            </a:extLst>
          </p:cNvPr>
          <p:cNvSpPr/>
          <p:nvPr userDrawn="1"/>
        </p:nvSpPr>
        <p:spPr bwMode="gray">
          <a:xfrm>
            <a:off x="6562100" y="2060872"/>
            <a:ext cx="1828959" cy="1828959"/>
          </a:xfrm>
          <a:prstGeom prst="ellipse">
            <a:avLst/>
          </a:prstGeom>
          <a:solidFill>
            <a:schemeClr val="accent1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45D908EF-1F96-4808-A8DB-F55AB9E8E436}"/>
              </a:ext>
            </a:extLst>
          </p:cNvPr>
          <p:cNvSpPr/>
          <p:nvPr userDrawn="1"/>
        </p:nvSpPr>
        <p:spPr bwMode="gray">
          <a:xfrm>
            <a:off x="3806932" y="2060872"/>
            <a:ext cx="1828959" cy="1828959"/>
          </a:xfrm>
          <a:prstGeom prst="ellipse">
            <a:avLst/>
          </a:prstGeom>
          <a:solidFill>
            <a:schemeClr val="accent3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0AAF357F-A1D5-401D-94D2-9C67E6AEDA09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A6ED71B-2619-4816-B753-5E850ED08F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One Line Tit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B679D5C-AEFA-4052-96E3-7DF67D7C105A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83A73281-E5F0-4C3B-BE4E-A12D56CC100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42673" y="4269508"/>
            <a:ext cx="22860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accent4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70078EAE-661A-4C72-917B-F0225239F6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79813" y="4269508"/>
            <a:ext cx="22860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accent3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566D6B40-9CB0-4B56-A3E1-9A7F945F094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23013" y="4269508"/>
            <a:ext cx="22860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accent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16F5CA9C-E491-4F70-B6EE-A506410601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66213" y="4269508"/>
            <a:ext cx="22860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35118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Ic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Oval 21">
            <a:extLst>
              <a:ext uri="{FF2B5EF4-FFF2-40B4-BE49-F238E27FC236}">
                <a16:creationId xmlns:a16="http://schemas.microsoft.com/office/drawing/2014/main" id="{A1FDF9D3-5B68-4A75-97BF-2C5113CFAA66}"/>
              </a:ext>
            </a:extLst>
          </p:cNvPr>
          <p:cNvSpPr/>
          <p:nvPr userDrawn="1"/>
        </p:nvSpPr>
        <p:spPr bwMode="gray">
          <a:xfrm>
            <a:off x="609800" y="2064663"/>
            <a:ext cx="1828959" cy="1828959"/>
          </a:xfrm>
          <a:prstGeom prst="ellipse">
            <a:avLst/>
          </a:prstGeom>
          <a:solidFill>
            <a:schemeClr val="accent4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accent4"/>
              </a:solidFill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7EAB1992-E472-4489-8A4E-A8FE45DE10CF}"/>
              </a:ext>
            </a:extLst>
          </p:cNvPr>
          <p:cNvSpPr/>
          <p:nvPr userDrawn="1"/>
        </p:nvSpPr>
        <p:spPr bwMode="gray">
          <a:xfrm>
            <a:off x="9744473" y="2064663"/>
            <a:ext cx="1828959" cy="1828959"/>
          </a:xfrm>
          <a:prstGeom prst="ellipse">
            <a:avLst/>
          </a:prstGeom>
          <a:solidFill>
            <a:schemeClr val="accent5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C551C90A-573F-4E4A-9359-5C7B0F546BF9}"/>
              </a:ext>
            </a:extLst>
          </p:cNvPr>
          <p:cNvSpPr/>
          <p:nvPr userDrawn="1"/>
        </p:nvSpPr>
        <p:spPr bwMode="gray">
          <a:xfrm>
            <a:off x="5201380" y="2064663"/>
            <a:ext cx="1828959" cy="18289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AF79E162-3D8F-4829-A4AD-02A03597B11A}"/>
              </a:ext>
            </a:extLst>
          </p:cNvPr>
          <p:cNvSpPr/>
          <p:nvPr userDrawn="1"/>
        </p:nvSpPr>
        <p:spPr bwMode="gray">
          <a:xfrm>
            <a:off x="2892452" y="2064663"/>
            <a:ext cx="1828959" cy="1828959"/>
          </a:xfrm>
          <a:prstGeom prst="ellipse">
            <a:avLst/>
          </a:prstGeom>
          <a:solidFill>
            <a:schemeClr val="accent3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026B9B36-08E7-4664-970C-13123F24C793}"/>
              </a:ext>
            </a:extLst>
          </p:cNvPr>
          <p:cNvSpPr/>
          <p:nvPr userDrawn="1"/>
        </p:nvSpPr>
        <p:spPr bwMode="gray">
          <a:xfrm>
            <a:off x="7464921" y="2064663"/>
            <a:ext cx="1828959" cy="1828959"/>
          </a:xfrm>
          <a:prstGeom prst="ellipse">
            <a:avLst/>
          </a:prstGeom>
          <a:solidFill>
            <a:schemeClr val="accent2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0E19ACAF-9401-49DF-ACFF-2BA2129506AB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BA8A47F-2243-412F-A1A8-FA8E3475F5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One Line Tit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EEA64E97-C31D-49B1-B8E1-20E5F404F516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2E201879-B985-4ADE-8AD6-6C3E14CE0AF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0850" y="4282873"/>
            <a:ext cx="18288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000">
                <a:solidFill>
                  <a:schemeClr val="accent4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600"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9495BAAB-E860-4075-9DA3-ABA7C32D235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94013" y="4282873"/>
            <a:ext cx="18288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000">
                <a:solidFill>
                  <a:schemeClr val="accent3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600"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62D3946B-F2F1-42AF-8E89-00761A7745D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85093" y="4282873"/>
            <a:ext cx="18288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000">
                <a:solidFill>
                  <a:schemeClr val="accent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600"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2F84664-2E68-46AE-AE2C-E8D2B6C9A1D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70001" y="4282873"/>
            <a:ext cx="18288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000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600"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CDC9B65E-8BAA-4676-9F32-44EC3772D34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752013" y="4282873"/>
            <a:ext cx="18288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000">
                <a:solidFill>
                  <a:schemeClr val="accent5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600"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010609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3FC38F94-115E-4DBE-80BB-680CB172F9FB}"/>
              </a:ext>
            </a:extLst>
          </p:cNvPr>
          <p:cNvSpPr/>
          <p:nvPr userDrawn="1"/>
        </p:nvSpPr>
        <p:spPr>
          <a:xfrm rot="2700000">
            <a:off x="810400" y="-3656857"/>
            <a:ext cx="9864449" cy="13468141"/>
          </a:xfrm>
          <a:custGeom>
            <a:avLst/>
            <a:gdLst>
              <a:gd name="connsiteX0" fmla="*/ 0 w 9864449"/>
              <a:gd name="connsiteY0" fmla="*/ 7314461 h 13468141"/>
              <a:gd name="connsiteX1" fmla="*/ 7314462 w 9864449"/>
              <a:gd name="connsiteY1" fmla="*/ 0 h 13468141"/>
              <a:gd name="connsiteX2" fmla="*/ 9864449 w 9864449"/>
              <a:gd name="connsiteY2" fmla="*/ 2549987 h 13468141"/>
              <a:gd name="connsiteX3" fmla="*/ 9864449 w 9864449"/>
              <a:gd name="connsiteY3" fmla="*/ 7148688 h 13468141"/>
              <a:gd name="connsiteX4" fmla="*/ 3544996 w 9864449"/>
              <a:gd name="connsiteY4" fmla="*/ 13468141 h 13468141"/>
              <a:gd name="connsiteX5" fmla="*/ 0 w 9864449"/>
              <a:gd name="connsiteY5" fmla="*/ 9923145 h 134681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864449" h="13468141">
                <a:moveTo>
                  <a:pt x="0" y="7314461"/>
                </a:moveTo>
                <a:lnTo>
                  <a:pt x="7314462" y="0"/>
                </a:lnTo>
                <a:lnTo>
                  <a:pt x="9864449" y="2549987"/>
                </a:lnTo>
                <a:lnTo>
                  <a:pt x="9864449" y="7148688"/>
                </a:lnTo>
                <a:lnTo>
                  <a:pt x="3544996" y="13468141"/>
                </a:lnTo>
                <a:lnTo>
                  <a:pt x="0" y="9923145"/>
                </a:lnTo>
                <a:close/>
              </a:path>
            </a:pathLst>
          </a:custGeom>
          <a:gradFill>
            <a:gsLst>
              <a:gs pos="0">
                <a:schemeClr val="bg1">
                  <a:alpha val="76000"/>
                </a:schemeClr>
              </a:gs>
              <a:gs pos="89000">
                <a:schemeClr val="tx1">
                  <a:lumMod val="16000"/>
                  <a:lumOff val="84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863" name="Text Placeholder 862">
            <a:extLst>
              <a:ext uri="{FF2B5EF4-FFF2-40B4-BE49-F238E27FC236}">
                <a16:creationId xmlns:a16="http://schemas.microsoft.com/office/drawing/2014/main" id="{806A8161-3A3C-4E8C-98F0-AD01607CDAE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8013" y="2057400"/>
            <a:ext cx="5943599" cy="2285999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3600"/>
            </a:lvl1pPr>
            <a:lvl2pPr marL="273050" indent="0"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512" name="TextBox 1511">
            <a:extLst>
              <a:ext uri="{FF2B5EF4-FFF2-40B4-BE49-F238E27FC236}">
                <a16:creationId xmlns:a16="http://schemas.microsoft.com/office/drawing/2014/main" id="{6C78DB77-69E8-414D-8309-EC1F1C8DCA8E}"/>
              </a:ext>
            </a:extLst>
          </p:cNvPr>
          <p:cNvSpPr txBox="1"/>
          <p:nvPr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latin typeface="+mj-lt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DA08A2D-0A8A-41FD-AA58-0A072FFF329F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3596DD11-914A-4FCB-BD5A-B452681B61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522938A5-2D76-46C8-B7C1-3F77D5812E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D6EDDC02-7874-477D-8151-D0B193E894D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11497605-B9F0-499D-9BAD-CAD4DF264DD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87A173DB-972A-49CD-B107-F84916A5F7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AA7E256D-662E-4F46-945F-75B84B1B314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745AE183-7E5A-47CA-8BC0-5071F1977EE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9C494915-7365-4D9B-82B2-73349D47E724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C5E11EA0-C34E-47CC-A1C4-C041612819E2}"/>
              </a:ext>
            </a:extLst>
          </p:cNvPr>
          <p:cNvSpPr/>
          <p:nvPr userDrawn="1"/>
        </p:nvSpPr>
        <p:spPr>
          <a:xfrm rot="2700000">
            <a:off x="9037252" y="3334944"/>
            <a:ext cx="970552" cy="4540137"/>
          </a:xfrm>
          <a:custGeom>
            <a:avLst/>
            <a:gdLst>
              <a:gd name="connsiteX0" fmla="*/ 1 w 970552"/>
              <a:gd name="connsiteY0" fmla="*/ 970551 h 4540137"/>
              <a:gd name="connsiteX1" fmla="*/ 970552 w 970552"/>
              <a:gd name="connsiteY1" fmla="*/ 0 h 4540137"/>
              <a:gd name="connsiteX2" fmla="*/ 970552 w 970552"/>
              <a:gd name="connsiteY2" fmla="*/ 3569585 h 4540137"/>
              <a:gd name="connsiteX3" fmla="*/ 0 w 970552"/>
              <a:gd name="connsiteY3" fmla="*/ 4540137 h 4540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0552" h="4540137">
                <a:moveTo>
                  <a:pt x="1" y="970551"/>
                </a:moveTo>
                <a:lnTo>
                  <a:pt x="970552" y="0"/>
                </a:lnTo>
                <a:lnTo>
                  <a:pt x="970552" y="3569585"/>
                </a:lnTo>
                <a:lnTo>
                  <a:pt x="0" y="4540137"/>
                </a:lnTo>
                <a:close/>
              </a:path>
            </a:pathLst>
          </a:custGeom>
          <a:gradFill>
            <a:gsLst>
              <a:gs pos="24000">
                <a:schemeClr val="accent4"/>
              </a:gs>
              <a:gs pos="87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7300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–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4AA04BF1-028D-4BDA-A4B7-2EF92A074224}"/>
              </a:ext>
            </a:extLst>
          </p:cNvPr>
          <p:cNvSpPr/>
          <p:nvPr userDrawn="1"/>
        </p:nvSpPr>
        <p:spPr>
          <a:xfrm rot="2700000">
            <a:off x="810400" y="-3656857"/>
            <a:ext cx="9864449" cy="13468141"/>
          </a:xfrm>
          <a:custGeom>
            <a:avLst/>
            <a:gdLst>
              <a:gd name="connsiteX0" fmla="*/ 0 w 9864449"/>
              <a:gd name="connsiteY0" fmla="*/ 7314461 h 13468141"/>
              <a:gd name="connsiteX1" fmla="*/ 7314462 w 9864449"/>
              <a:gd name="connsiteY1" fmla="*/ 0 h 13468141"/>
              <a:gd name="connsiteX2" fmla="*/ 9864449 w 9864449"/>
              <a:gd name="connsiteY2" fmla="*/ 2549987 h 13468141"/>
              <a:gd name="connsiteX3" fmla="*/ 9864449 w 9864449"/>
              <a:gd name="connsiteY3" fmla="*/ 7148688 h 13468141"/>
              <a:gd name="connsiteX4" fmla="*/ 3544996 w 9864449"/>
              <a:gd name="connsiteY4" fmla="*/ 13468141 h 13468141"/>
              <a:gd name="connsiteX5" fmla="*/ 0 w 9864449"/>
              <a:gd name="connsiteY5" fmla="*/ 9923145 h 134681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864449" h="13468141">
                <a:moveTo>
                  <a:pt x="0" y="7314461"/>
                </a:moveTo>
                <a:lnTo>
                  <a:pt x="7314462" y="0"/>
                </a:lnTo>
                <a:lnTo>
                  <a:pt x="9864449" y="2549987"/>
                </a:lnTo>
                <a:lnTo>
                  <a:pt x="9864449" y="7148688"/>
                </a:lnTo>
                <a:lnTo>
                  <a:pt x="3544996" y="13468141"/>
                </a:lnTo>
                <a:lnTo>
                  <a:pt x="0" y="9923145"/>
                </a:lnTo>
                <a:close/>
              </a:path>
            </a:pathLst>
          </a:custGeom>
          <a:gradFill>
            <a:gsLst>
              <a:gs pos="0">
                <a:schemeClr val="bg1">
                  <a:alpha val="76000"/>
                </a:schemeClr>
              </a:gs>
              <a:gs pos="89000">
                <a:schemeClr val="tx1">
                  <a:lumMod val="16000"/>
                  <a:lumOff val="84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473426A1-35AB-43B6-9A41-2142ACF3ACC4}"/>
              </a:ext>
            </a:extLst>
          </p:cNvPr>
          <p:cNvSpPr/>
          <p:nvPr userDrawn="1"/>
        </p:nvSpPr>
        <p:spPr>
          <a:xfrm rot="2700000">
            <a:off x="9037252" y="3334944"/>
            <a:ext cx="970552" cy="4540137"/>
          </a:xfrm>
          <a:custGeom>
            <a:avLst/>
            <a:gdLst>
              <a:gd name="connsiteX0" fmla="*/ 1 w 970552"/>
              <a:gd name="connsiteY0" fmla="*/ 970551 h 4540137"/>
              <a:gd name="connsiteX1" fmla="*/ 970552 w 970552"/>
              <a:gd name="connsiteY1" fmla="*/ 0 h 4540137"/>
              <a:gd name="connsiteX2" fmla="*/ 970552 w 970552"/>
              <a:gd name="connsiteY2" fmla="*/ 3569585 h 4540137"/>
              <a:gd name="connsiteX3" fmla="*/ 0 w 970552"/>
              <a:gd name="connsiteY3" fmla="*/ 4540137 h 4540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0552" h="4540137">
                <a:moveTo>
                  <a:pt x="1" y="970551"/>
                </a:moveTo>
                <a:lnTo>
                  <a:pt x="970552" y="0"/>
                </a:lnTo>
                <a:lnTo>
                  <a:pt x="970552" y="3569585"/>
                </a:lnTo>
                <a:lnTo>
                  <a:pt x="0" y="4540137"/>
                </a:lnTo>
                <a:close/>
              </a:path>
            </a:pathLst>
          </a:custGeom>
          <a:gradFill>
            <a:gsLst>
              <a:gs pos="24000">
                <a:srgbClr val="7F35AB"/>
              </a:gs>
              <a:gs pos="87000">
                <a:srgbClr val="264088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863" name="Text Placeholder 862">
            <a:extLst>
              <a:ext uri="{FF2B5EF4-FFF2-40B4-BE49-F238E27FC236}">
                <a16:creationId xmlns:a16="http://schemas.microsoft.com/office/drawing/2014/main" id="{806A8161-3A3C-4E8C-98F0-AD01607CDAE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8013" y="2057400"/>
            <a:ext cx="5943599" cy="2285999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3600"/>
            </a:lvl1pPr>
            <a:lvl2pPr marL="273050" indent="0"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512" name="TextBox 1511">
            <a:extLst>
              <a:ext uri="{FF2B5EF4-FFF2-40B4-BE49-F238E27FC236}">
                <a16:creationId xmlns:a16="http://schemas.microsoft.com/office/drawing/2014/main" id="{6C78DB77-69E8-414D-8309-EC1F1C8DCA8E}"/>
              </a:ext>
            </a:extLst>
          </p:cNvPr>
          <p:cNvSpPr txBox="1"/>
          <p:nvPr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latin typeface="+mj-lt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DA08A2D-0A8A-41FD-AA58-0A072FFF329F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3596DD11-914A-4FCB-BD5A-B452681B61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522938A5-2D76-46C8-B7C1-3F77D5812E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D6EDDC02-7874-477D-8151-D0B193E894D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11497605-B9F0-499D-9BAD-CAD4DF264DD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87A173DB-972A-49CD-B107-F84916A5F7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AA7E256D-662E-4F46-945F-75B84B1B314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745AE183-7E5A-47CA-8BC0-5071F1977EE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9C494915-7365-4D9B-82B2-73349D47E724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</p:spTree>
    <p:extLst>
      <p:ext uri="{BB962C8B-B14F-4D97-AF65-F5344CB8AC3E}">
        <p14:creationId xmlns:p14="http://schemas.microsoft.com/office/powerpoint/2010/main" val="3101645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–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19A14F3E-8802-40CC-94BC-F7A8969E93E3}"/>
              </a:ext>
            </a:extLst>
          </p:cNvPr>
          <p:cNvSpPr/>
          <p:nvPr userDrawn="1"/>
        </p:nvSpPr>
        <p:spPr>
          <a:xfrm rot="2700000">
            <a:off x="810400" y="-3656857"/>
            <a:ext cx="9864449" cy="13468141"/>
          </a:xfrm>
          <a:custGeom>
            <a:avLst/>
            <a:gdLst>
              <a:gd name="connsiteX0" fmla="*/ 0 w 9864449"/>
              <a:gd name="connsiteY0" fmla="*/ 7314461 h 13468141"/>
              <a:gd name="connsiteX1" fmla="*/ 7314462 w 9864449"/>
              <a:gd name="connsiteY1" fmla="*/ 0 h 13468141"/>
              <a:gd name="connsiteX2" fmla="*/ 9864449 w 9864449"/>
              <a:gd name="connsiteY2" fmla="*/ 2549987 h 13468141"/>
              <a:gd name="connsiteX3" fmla="*/ 9864449 w 9864449"/>
              <a:gd name="connsiteY3" fmla="*/ 7148688 h 13468141"/>
              <a:gd name="connsiteX4" fmla="*/ 3544996 w 9864449"/>
              <a:gd name="connsiteY4" fmla="*/ 13468141 h 13468141"/>
              <a:gd name="connsiteX5" fmla="*/ 0 w 9864449"/>
              <a:gd name="connsiteY5" fmla="*/ 9923145 h 134681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864449" h="13468141">
                <a:moveTo>
                  <a:pt x="0" y="7314461"/>
                </a:moveTo>
                <a:lnTo>
                  <a:pt x="7314462" y="0"/>
                </a:lnTo>
                <a:lnTo>
                  <a:pt x="9864449" y="2549987"/>
                </a:lnTo>
                <a:lnTo>
                  <a:pt x="9864449" y="7148688"/>
                </a:lnTo>
                <a:lnTo>
                  <a:pt x="3544996" y="13468141"/>
                </a:lnTo>
                <a:lnTo>
                  <a:pt x="0" y="9923145"/>
                </a:lnTo>
                <a:close/>
              </a:path>
            </a:pathLst>
          </a:custGeom>
          <a:gradFill>
            <a:gsLst>
              <a:gs pos="0">
                <a:schemeClr val="bg1">
                  <a:alpha val="76000"/>
                </a:schemeClr>
              </a:gs>
              <a:gs pos="89000">
                <a:schemeClr val="tx1">
                  <a:lumMod val="16000"/>
                  <a:lumOff val="84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0CD52C01-87CF-4DAA-AF73-217E439433CA}"/>
              </a:ext>
            </a:extLst>
          </p:cNvPr>
          <p:cNvSpPr/>
          <p:nvPr userDrawn="1"/>
        </p:nvSpPr>
        <p:spPr>
          <a:xfrm rot="2700000">
            <a:off x="9037252" y="3334944"/>
            <a:ext cx="970552" cy="4540137"/>
          </a:xfrm>
          <a:custGeom>
            <a:avLst/>
            <a:gdLst>
              <a:gd name="connsiteX0" fmla="*/ 1 w 970552"/>
              <a:gd name="connsiteY0" fmla="*/ 970551 h 4540137"/>
              <a:gd name="connsiteX1" fmla="*/ 970552 w 970552"/>
              <a:gd name="connsiteY1" fmla="*/ 0 h 4540137"/>
              <a:gd name="connsiteX2" fmla="*/ 970552 w 970552"/>
              <a:gd name="connsiteY2" fmla="*/ 3569585 h 4540137"/>
              <a:gd name="connsiteX3" fmla="*/ 0 w 970552"/>
              <a:gd name="connsiteY3" fmla="*/ 4540137 h 4540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0552" h="4540137">
                <a:moveTo>
                  <a:pt x="1" y="970551"/>
                </a:moveTo>
                <a:lnTo>
                  <a:pt x="970552" y="0"/>
                </a:lnTo>
                <a:lnTo>
                  <a:pt x="970552" y="3569585"/>
                </a:lnTo>
                <a:lnTo>
                  <a:pt x="0" y="4540137"/>
                </a:lnTo>
                <a:close/>
              </a:path>
            </a:pathLst>
          </a:custGeom>
          <a:gradFill>
            <a:gsLst>
              <a:gs pos="24000">
                <a:schemeClr val="accent3"/>
              </a:gs>
              <a:gs pos="87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863" name="Text Placeholder 862">
            <a:extLst>
              <a:ext uri="{FF2B5EF4-FFF2-40B4-BE49-F238E27FC236}">
                <a16:creationId xmlns:a16="http://schemas.microsoft.com/office/drawing/2014/main" id="{806A8161-3A3C-4E8C-98F0-AD01607CDAE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8013" y="2057400"/>
            <a:ext cx="5943599" cy="2285999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3600"/>
            </a:lvl1pPr>
            <a:lvl2pPr marL="273050" indent="0"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512" name="TextBox 1511">
            <a:extLst>
              <a:ext uri="{FF2B5EF4-FFF2-40B4-BE49-F238E27FC236}">
                <a16:creationId xmlns:a16="http://schemas.microsoft.com/office/drawing/2014/main" id="{6C78DB77-69E8-414D-8309-EC1F1C8DCA8E}"/>
              </a:ext>
            </a:extLst>
          </p:cNvPr>
          <p:cNvSpPr txBox="1"/>
          <p:nvPr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latin typeface="+mj-lt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DA08A2D-0A8A-41FD-AA58-0A072FFF329F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3596DD11-914A-4FCB-BD5A-B452681B61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522938A5-2D76-46C8-B7C1-3F77D5812E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D6EDDC02-7874-477D-8151-D0B193E894D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11497605-B9F0-499D-9BAD-CAD4DF264DD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87A173DB-972A-49CD-B107-F84916A5F7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AA7E256D-662E-4F46-945F-75B84B1B314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745AE183-7E5A-47CA-8BC0-5071F1977EE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9C494915-7365-4D9B-82B2-73349D47E724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</p:spTree>
    <p:extLst>
      <p:ext uri="{BB962C8B-B14F-4D97-AF65-F5344CB8AC3E}">
        <p14:creationId xmlns:p14="http://schemas.microsoft.com/office/powerpoint/2010/main" val="1658947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with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B95FD2E6-B8EA-4366-97C4-6A53370F84D0}"/>
              </a:ext>
            </a:extLst>
          </p:cNvPr>
          <p:cNvSpPr/>
          <p:nvPr userDrawn="1"/>
        </p:nvSpPr>
        <p:spPr>
          <a:xfrm>
            <a:off x="5379720" y="-52904"/>
            <a:ext cx="6809966" cy="6821367"/>
          </a:xfrm>
          <a:custGeom>
            <a:avLst/>
            <a:gdLst>
              <a:gd name="connsiteX0" fmla="*/ 6845677 w 6846538"/>
              <a:gd name="connsiteY0" fmla="*/ 4820854 h 6858000"/>
              <a:gd name="connsiteX1" fmla="*/ 4811938 w 6846538"/>
              <a:gd name="connsiteY1" fmla="*/ 6857998 h 6858000"/>
              <a:gd name="connsiteX2" fmla="*/ 6845677 w 6846538"/>
              <a:gd name="connsiteY2" fmla="*/ 6857998 h 6858000"/>
              <a:gd name="connsiteX3" fmla="*/ 6846538 w 6846538"/>
              <a:gd name="connsiteY3" fmla="*/ 0 h 6858000"/>
              <a:gd name="connsiteX4" fmla="*/ 6846538 w 6846538"/>
              <a:gd name="connsiteY4" fmla="*/ 6858000 h 6858000"/>
              <a:gd name="connsiteX5" fmla="*/ 0 w 684653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46538" h="6858000">
                <a:moveTo>
                  <a:pt x="6845677" y="4820854"/>
                </a:moveTo>
                <a:lnTo>
                  <a:pt x="4811938" y="6857998"/>
                </a:lnTo>
                <a:lnTo>
                  <a:pt x="6845677" y="6857998"/>
                </a:lnTo>
                <a:close/>
                <a:moveTo>
                  <a:pt x="6846538" y="0"/>
                </a:moveTo>
                <a:lnTo>
                  <a:pt x="6846538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bg1">
                  <a:alpha val="76000"/>
                </a:schemeClr>
              </a:gs>
              <a:gs pos="89000">
                <a:schemeClr val="tx1">
                  <a:lumMod val="16000"/>
                  <a:lumOff val="84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774" name="TextBox 773">
            <a:extLst>
              <a:ext uri="{FF2B5EF4-FFF2-40B4-BE49-F238E27FC236}">
                <a16:creationId xmlns:a16="http://schemas.microsoft.com/office/drawing/2014/main" id="{BC2C04F8-C4D0-4DA4-8689-3A3303F0660F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latin typeface="+mj-lt"/>
            </a:endParaRPr>
          </a:p>
        </p:txBody>
      </p:sp>
      <p:sp>
        <p:nvSpPr>
          <p:cNvPr id="2147" name="Oval 2146">
            <a:extLst>
              <a:ext uri="{FF2B5EF4-FFF2-40B4-BE49-F238E27FC236}">
                <a16:creationId xmlns:a16="http://schemas.microsoft.com/office/drawing/2014/main" id="{FDDA58E5-A99B-48C0-A6B7-6BAE32E46F62}"/>
              </a:ext>
            </a:extLst>
          </p:cNvPr>
          <p:cNvSpPr/>
          <p:nvPr userDrawn="1"/>
        </p:nvSpPr>
        <p:spPr bwMode="gray">
          <a:xfrm>
            <a:off x="7273815" y="1515193"/>
            <a:ext cx="3735912" cy="3735912"/>
          </a:xfrm>
          <a:prstGeom prst="ellipse">
            <a:avLst/>
          </a:prstGeom>
          <a:solidFill>
            <a:schemeClr val="accent1"/>
          </a:solidFill>
          <a:ln w="76200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60325" lvl="0" algn="ctr">
              <a:spcAft>
                <a:spcPts val="800"/>
              </a:spcAft>
            </a:pPr>
            <a:endParaRPr lang="en-US" sz="1400" kern="0"/>
          </a:p>
        </p:txBody>
      </p:sp>
      <p:sp>
        <p:nvSpPr>
          <p:cNvPr id="18" name="Text Placeholder 862">
            <a:extLst>
              <a:ext uri="{FF2B5EF4-FFF2-40B4-BE49-F238E27FC236}">
                <a16:creationId xmlns:a16="http://schemas.microsoft.com/office/drawing/2014/main" id="{E56855D3-D3B3-4208-ADBF-9790190F0A6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8014" y="2514600"/>
            <a:ext cx="5485844" cy="1828799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3600"/>
            </a:lvl1pPr>
            <a:lvl2pPr marL="273050" indent="0"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954248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with Icon –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904AD3C8-5B0F-4AB1-B568-AA55FF64194A}"/>
              </a:ext>
            </a:extLst>
          </p:cNvPr>
          <p:cNvSpPr/>
          <p:nvPr userDrawn="1"/>
        </p:nvSpPr>
        <p:spPr>
          <a:xfrm>
            <a:off x="5379720" y="-52904"/>
            <a:ext cx="6809966" cy="6821367"/>
          </a:xfrm>
          <a:custGeom>
            <a:avLst/>
            <a:gdLst>
              <a:gd name="connsiteX0" fmla="*/ 6845677 w 6846538"/>
              <a:gd name="connsiteY0" fmla="*/ 4820854 h 6858000"/>
              <a:gd name="connsiteX1" fmla="*/ 4811938 w 6846538"/>
              <a:gd name="connsiteY1" fmla="*/ 6857998 h 6858000"/>
              <a:gd name="connsiteX2" fmla="*/ 6845677 w 6846538"/>
              <a:gd name="connsiteY2" fmla="*/ 6857998 h 6858000"/>
              <a:gd name="connsiteX3" fmla="*/ 6846538 w 6846538"/>
              <a:gd name="connsiteY3" fmla="*/ 0 h 6858000"/>
              <a:gd name="connsiteX4" fmla="*/ 6846538 w 6846538"/>
              <a:gd name="connsiteY4" fmla="*/ 6858000 h 6858000"/>
              <a:gd name="connsiteX5" fmla="*/ 0 w 684653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46538" h="6858000">
                <a:moveTo>
                  <a:pt x="6845677" y="4820854"/>
                </a:moveTo>
                <a:lnTo>
                  <a:pt x="4811938" y="6857998"/>
                </a:lnTo>
                <a:lnTo>
                  <a:pt x="6845677" y="6857998"/>
                </a:lnTo>
                <a:close/>
                <a:moveTo>
                  <a:pt x="6846538" y="0"/>
                </a:moveTo>
                <a:lnTo>
                  <a:pt x="6846538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bg1">
                  <a:alpha val="76000"/>
                </a:schemeClr>
              </a:gs>
              <a:gs pos="89000">
                <a:schemeClr val="tx1">
                  <a:lumMod val="16000"/>
                  <a:lumOff val="84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774" name="TextBox 773">
            <a:extLst>
              <a:ext uri="{FF2B5EF4-FFF2-40B4-BE49-F238E27FC236}">
                <a16:creationId xmlns:a16="http://schemas.microsoft.com/office/drawing/2014/main" id="{BC2C04F8-C4D0-4DA4-8689-3A3303F0660F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latin typeface="+mj-lt"/>
            </a:endParaRPr>
          </a:p>
        </p:txBody>
      </p:sp>
      <p:sp>
        <p:nvSpPr>
          <p:cNvPr id="2147" name="Oval 2146">
            <a:extLst>
              <a:ext uri="{FF2B5EF4-FFF2-40B4-BE49-F238E27FC236}">
                <a16:creationId xmlns:a16="http://schemas.microsoft.com/office/drawing/2014/main" id="{FDDA58E5-A99B-48C0-A6B7-6BAE32E46F62}"/>
              </a:ext>
            </a:extLst>
          </p:cNvPr>
          <p:cNvSpPr/>
          <p:nvPr userDrawn="1"/>
        </p:nvSpPr>
        <p:spPr bwMode="gray">
          <a:xfrm rot="10800000">
            <a:off x="7273815" y="1515193"/>
            <a:ext cx="3735912" cy="3735912"/>
          </a:xfrm>
          <a:prstGeom prst="ellipse">
            <a:avLst/>
          </a:prstGeom>
          <a:solidFill>
            <a:schemeClr val="accent4"/>
          </a:solidFill>
          <a:ln w="76200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60325" lvl="0" algn="ctr">
              <a:spcAft>
                <a:spcPts val="800"/>
              </a:spcAft>
            </a:pPr>
            <a:endParaRPr lang="en-US" sz="1400" kern="0"/>
          </a:p>
        </p:txBody>
      </p:sp>
      <p:sp>
        <p:nvSpPr>
          <p:cNvPr id="18" name="Text Placeholder 862">
            <a:extLst>
              <a:ext uri="{FF2B5EF4-FFF2-40B4-BE49-F238E27FC236}">
                <a16:creationId xmlns:a16="http://schemas.microsoft.com/office/drawing/2014/main" id="{E56855D3-D3B3-4208-ADBF-9790190F0A6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8014" y="2514600"/>
            <a:ext cx="5485844" cy="1828799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3600"/>
            </a:lvl1pPr>
            <a:lvl2pPr marL="273050" indent="0"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589774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with Icon –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8E49745E-959E-424E-B5AD-B75ACA32BFE8}"/>
              </a:ext>
            </a:extLst>
          </p:cNvPr>
          <p:cNvSpPr/>
          <p:nvPr userDrawn="1"/>
        </p:nvSpPr>
        <p:spPr>
          <a:xfrm>
            <a:off x="5379720" y="-52904"/>
            <a:ext cx="6809966" cy="6821367"/>
          </a:xfrm>
          <a:custGeom>
            <a:avLst/>
            <a:gdLst>
              <a:gd name="connsiteX0" fmla="*/ 6845677 w 6846538"/>
              <a:gd name="connsiteY0" fmla="*/ 4820854 h 6858000"/>
              <a:gd name="connsiteX1" fmla="*/ 4811938 w 6846538"/>
              <a:gd name="connsiteY1" fmla="*/ 6857998 h 6858000"/>
              <a:gd name="connsiteX2" fmla="*/ 6845677 w 6846538"/>
              <a:gd name="connsiteY2" fmla="*/ 6857998 h 6858000"/>
              <a:gd name="connsiteX3" fmla="*/ 6846538 w 6846538"/>
              <a:gd name="connsiteY3" fmla="*/ 0 h 6858000"/>
              <a:gd name="connsiteX4" fmla="*/ 6846538 w 6846538"/>
              <a:gd name="connsiteY4" fmla="*/ 6858000 h 6858000"/>
              <a:gd name="connsiteX5" fmla="*/ 0 w 684653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46538" h="6858000">
                <a:moveTo>
                  <a:pt x="6845677" y="4820854"/>
                </a:moveTo>
                <a:lnTo>
                  <a:pt x="4811938" y="6857998"/>
                </a:lnTo>
                <a:lnTo>
                  <a:pt x="6845677" y="6857998"/>
                </a:lnTo>
                <a:close/>
                <a:moveTo>
                  <a:pt x="6846538" y="0"/>
                </a:moveTo>
                <a:lnTo>
                  <a:pt x="6846538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bg1">
                  <a:alpha val="76000"/>
                </a:schemeClr>
              </a:gs>
              <a:gs pos="89000">
                <a:schemeClr val="tx1">
                  <a:lumMod val="16000"/>
                  <a:lumOff val="84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774" name="TextBox 773">
            <a:extLst>
              <a:ext uri="{FF2B5EF4-FFF2-40B4-BE49-F238E27FC236}">
                <a16:creationId xmlns:a16="http://schemas.microsoft.com/office/drawing/2014/main" id="{BC2C04F8-C4D0-4DA4-8689-3A3303F0660F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latin typeface="+mj-lt"/>
            </a:endParaRPr>
          </a:p>
        </p:txBody>
      </p:sp>
      <p:sp>
        <p:nvSpPr>
          <p:cNvPr id="2147" name="Oval 2146">
            <a:extLst>
              <a:ext uri="{FF2B5EF4-FFF2-40B4-BE49-F238E27FC236}">
                <a16:creationId xmlns:a16="http://schemas.microsoft.com/office/drawing/2014/main" id="{FDDA58E5-A99B-48C0-A6B7-6BAE32E46F62}"/>
              </a:ext>
            </a:extLst>
          </p:cNvPr>
          <p:cNvSpPr/>
          <p:nvPr userDrawn="1"/>
        </p:nvSpPr>
        <p:spPr bwMode="gray">
          <a:xfrm>
            <a:off x="7273815" y="1515193"/>
            <a:ext cx="3735912" cy="3735912"/>
          </a:xfrm>
          <a:prstGeom prst="ellipse">
            <a:avLst/>
          </a:prstGeom>
          <a:solidFill>
            <a:schemeClr val="accent5"/>
          </a:solidFill>
          <a:ln w="76200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60325" lvl="0" algn="ctr">
              <a:spcAft>
                <a:spcPts val="800"/>
              </a:spcAft>
            </a:pPr>
            <a:endParaRPr lang="en-US" sz="1400" kern="0"/>
          </a:p>
        </p:txBody>
      </p:sp>
      <p:sp>
        <p:nvSpPr>
          <p:cNvPr id="18" name="Text Placeholder 862">
            <a:extLst>
              <a:ext uri="{FF2B5EF4-FFF2-40B4-BE49-F238E27FC236}">
                <a16:creationId xmlns:a16="http://schemas.microsoft.com/office/drawing/2014/main" id="{E56855D3-D3B3-4208-ADBF-9790190F0A6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8014" y="2514600"/>
            <a:ext cx="5485844" cy="1828799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3600"/>
            </a:lvl1pPr>
            <a:lvl2pPr marL="273050" indent="0"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44092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5DD6E7D-B875-48DF-B6A8-450BD6AE171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785688" y="0"/>
            <a:ext cx="5403138" cy="6764798"/>
          </a:xfrm>
        </p:spPr>
        <p:txBody>
          <a:bodyPr lIns="640080" tIns="0" rIns="640080" anchor="ctr"/>
          <a:lstStyle>
            <a:lvl1pPr algn="ctr">
              <a:defRPr/>
            </a:lvl1pPr>
          </a:lstStyle>
          <a:p>
            <a:r>
              <a:rPr lang="en-US"/>
              <a:t>Click on the icon to insert a picture from your computer</a:t>
            </a:r>
          </a:p>
        </p:txBody>
      </p:sp>
      <p:sp>
        <p:nvSpPr>
          <p:cNvPr id="17" name="Text Placeholder 862">
            <a:extLst>
              <a:ext uri="{FF2B5EF4-FFF2-40B4-BE49-F238E27FC236}">
                <a16:creationId xmlns:a16="http://schemas.microsoft.com/office/drawing/2014/main" id="{C8F55BC8-3E55-49EB-BF20-18EB4F7F597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8014" y="2514600"/>
            <a:ext cx="5485844" cy="1828799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3600"/>
            </a:lvl1pPr>
            <a:lvl2pPr marL="273050" indent="0"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A6E1A1B-7C56-4DE3-BC90-B387C7F3E670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140219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-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D034FA3F-D529-4D8B-B6EC-A8341FCAF67E}"/>
              </a:ext>
            </a:extLst>
          </p:cNvPr>
          <p:cNvSpPr>
            <a:spLocks noGrp="1"/>
          </p:cNvSpPr>
          <p:nvPr userDrawn="1">
            <p:ph sz="quarter" idx="14" hasCustomPrompt="1"/>
          </p:nvPr>
        </p:nvSpPr>
        <p:spPr bwMode="gray">
          <a:xfrm>
            <a:off x="616504" y="2515154"/>
            <a:ext cx="3346929" cy="3657600"/>
          </a:xfrm>
          <a:solidFill>
            <a:schemeClr val="bg2"/>
          </a:solidFill>
        </p:spPr>
        <p:txBody>
          <a:bodyPr lIns="182880" tIns="274320" rIns="182880"/>
          <a:lstStyle>
            <a:lvl1pPr algn="l">
              <a:spcBef>
                <a:spcPts val="1200"/>
              </a:spcBef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200"/>
            </a:lvl7pPr>
            <a:lvl8pPr>
              <a:defRPr sz="1100"/>
            </a:lvl8pPr>
            <a:lvl9pPr>
              <a:defRPr sz="16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Level two</a:t>
            </a:r>
          </a:p>
          <a:p>
            <a:pPr lvl="2"/>
            <a:r>
              <a:rPr lang="en-US" dirty="0"/>
              <a:t>Level three</a:t>
            </a:r>
          </a:p>
          <a:p>
            <a:pPr lvl="3"/>
            <a:r>
              <a:rPr lang="en-US" dirty="0"/>
              <a:t>Level four</a:t>
            </a:r>
          </a:p>
          <a:p>
            <a:pPr lvl="4"/>
            <a:r>
              <a:rPr lang="en-US" dirty="0"/>
              <a:t>Level Five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 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  <a:p>
            <a:pPr lvl="1"/>
            <a:endParaRPr lang="en-US" dirty="0"/>
          </a:p>
        </p:txBody>
      </p:sp>
      <p:sp>
        <p:nvSpPr>
          <p:cNvPr id="72" name="Content Placeholder 17">
            <a:extLst>
              <a:ext uri="{FF2B5EF4-FFF2-40B4-BE49-F238E27FC236}">
                <a16:creationId xmlns:a16="http://schemas.microsoft.com/office/drawing/2014/main" id="{A0456ED3-FDC5-4E29-B939-E35EA08477CA}"/>
              </a:ext>
            </a:extLst>
          </p:cNvPr>
          <p:cNvSpPr>
            <a:spLocks noGrp="1"/>
          </p:cNvSpPr>
          <p:nvPr userDrawn="1">
            <p:ph sz="quarter" idx="16" hasCustomPrompt="1"/>
          </p:nvPr>
        </p:nvSpPr>
        <p:spPr bwMode="gray">
          <a:xfrm>
            <a:off x="4419676" y="2515154"/>
            <a:ext cx="3349473" cy="3657600"/>
          </a:xfrm>
          <a:solidFill>
            <a:schemeClr val="bg2"/>
          </a:solidFill>
        </p:spPr>
        <p:txBody>
          <a:bodyPr lIns="182880" tIns="274320" rIns="182880"/>
          <a:lstStyle>
            <a:lvl1pPr algn="l">
              <a:spcBef>
                <a:spcPts val="1200"/>
              </a:spcBef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200"/>
            </a:lvl7pPr>
            <a:lvl8pPr>
              <a:defRPr sz="1100"/>
            </a:lvl8pPr>
            <a:lvl9pPr>
              <a:defRPr sz="16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Level two</a:t>
            </a:r>
          </a:p>
          <a:p>
            <a:pPr lvl="2"/>
            <a:r>
              <a:rPr lang="en-US" dirty="0"/>
              <a:t>Level three</a:t>
            </a:r>
          </a:p>
          <a:p>
            <a:pPr lvl="3"/>
            <a:r>
              <a:rPr lang="en-US" dirty="0"/>
              <a:t>Level four</a:t>
            </a:r>
          </a:p>
          <a:p>
            <a:pPr lvl="4"/>
            <a:r>
              <a:rPr lang="en-US" dirty="0"/>
              <a:t>Level Five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 Level Seven 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  <a:p>
            <a:pPr lvl="3"/>
            <a:endParaRPr lang="en-US" dirty="0"/>
          </a:p>
          <a:p>
            <a:pPr lvl="1"/>
            <a:endParaRPr lang="en-US" dirty="0"/>
          </a:p>
        </p:txBody>
      </p:sp>
      <p:sp>
        <p:nvSpPr>
          <p:cNvPr id="73" name="Content Placeholder 17">
            <a:extLst>
              <a:ext uri="{FF2B5EF4-FFF2-40B4-BE49-F238E27FC236}">
                <a16:creationId xmlns:a16="http://schemas.microsoft.com/office/drawing/2014/main" id="{9C016467-4262-4DAA-9B43-A02E57530676}"/>
              </a:ext>
            </a:extLst>
          </p:cNvPr>
          <p:cNvSpPr>
            <a:spLocks noGrp="1"/>
          </p:cNvSpPr>
          <p:nvPr userDrawn="1">
            <p:ph sz="quarter" idx="17" hasCustomPrompt="1"/>
          </p:nvPr>
        </p:nvSpPr>
        <p:spPr bwMode="gray">
          <a:xfrm>
            <a:off x="8236361" y="2515154"/>
            <a:ext cx="3346704" cy="3657600"/>
          </a:xfrm>
          <a:solidFill>
            <a:schemeClr val="bg2"/>
          </a:solidFill>
        </p:spPr>
        <p:txBody>
          <a:bodyPr lIns="182880" tIns="274320" rIns="182880"/>
          <a:lstStyle>
            <a:lvl1pPr algn="l">
              <a:spcBef>
                <a:spcPts val="1200"/>
              </a:spcBef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200"/>
            </a:lvl7pPr>
            <a:lvl8pPr>
              <a:defRPr sz="1100"/>
            </a:lvl8pPr>
            <a:lvl9pPr>
              <a:defRPr sz="16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Level two</a:t>
            </a:r>
          </a:p>
          <a:p>
            <a:pPr lvl="2"/>
            <a:r>
              <a:rPr lang="en-US" dirty="0"/>
              <a:t>Level three</a:t>
            </a:r>
          </a:p>
          <a:p>
            <a:pPr lvl="3"/>
            <a:r>
              <a:rPr lang="en-US" dirty="0"/>
              <a:t>Level four</a:t>
            </a:r>
          </a:p>
          <a:p>
            <a:pPr lvl="4"/>
            <a:r>
              <a:rPr lang="en-US" dirty="0"/>
              <a:t>Level five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  <a:p>
            <a:pPr lvl="1"/>
            <a:endParaRPr lang="en-US" dirty="0"/>
          </a:p>
        </p:txBody>
      </p:sp>
      <p:sp>
        <p:nvSpPr>
          <p:cNvPr id="818" name="TextBox 817">
            <a:extLst>
              <a:ext uri="{FF2B5EF4-FFF2-40B4-BE49-F238E27FC236}">
                <a16:creationId xmlns:a16="http://schemas.microsoft.com/office/drawing/2014/main" id="{0B7E1504-B128-423C-AA77-E7FED5DC3B79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dirty="0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F2C94F-DA57-4BDB-8E5C-E4A0C75223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One Line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FC59F98B-A991-4DEC-A409-289E778CB84A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9392189-2D4C-4618-9072-F26EE557FD0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6504" y="1600200"/>
            <a:ext cx="3346704" cy="914400"/>
          </a:xfrm>
          <a:solidFill>
            <a:schemeClr val="accent4"/>
          </a:solidFill>
        </p:spPr>
        <p:txBody>
          <a:bodyPr lIns="182880" tIns="91440" rIns="182880" bIns="91440" anchor="ctr"/>
          <a:lstStyle>
            <a:lvl1pPr>
              <a:defRPr sz="1800">
                <a:solidFill>
                  <a:schemeClr val="bg1"/>
                </a:solidFill>
              </a:defRPr>
            </a:lvl1pPr>
            <a:lvl2pPr marL="0" indent="0">
              <a:buFont typeface="Open Sans" panose="020B0606030504020204" pitchFamily="34" charset="0"/>
              <a:buChar char="​"/>
              <a:defRPr sz="1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header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665955AB-F417-4DCB-8CC3-98BAC90A9AF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419676" y="1600200"/>
            <a:ext cx="3346704" cy="914400"/>
          </a:xfrm>
          <a:solidFill>
            <a:schemeClr val="accent1"/>
          </a:solidFill>
        </p:spPr>
        <p:txBody>
          <a:bodyPr lIns="182880" tIns="91440" rIns="182880" bIns="91440" anchor="ctr"/>
          <a:lstStyle>
            <a:lvl1pPr>
              <a:defRPr sz="1800">
                <a:solidFill>
                  <a:schemeClr val="bg1"/>
                </a:solidFill>
              </a:defRPr>
            </a:lvl1pPr>
            <a:lvl2pPr marL="0" indent="0">
              <a:buFont typeface="Open Sans" panose="020B0606030504020204" pitchFamily="34" charset="0"/>
              <a:buChar char="​"/>
              <a:defRPr sz="1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header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7AFB5407-642C-468A-81DB-F0C5C485F6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36361" y="1600200"/>
            <a:ext cx="3346704" cy="914400"/>
          </a:xfrm>
          <a:solidFill>
            <a:schemeClr val="accent2"/>
          </a:solidFill>
        </p:spPr>
        <p:txBody>
          <a:bodyPr lIns="182880" tIns="91440" rIns="182880" bIns="91440" anchor="ctr"/>
          <a:lstStyle>
            <a:lvl1pPr>
              <a:defRPr sz="1800">
                <a:solidFill>
                  <a:schemeClr val="bg1"/>
                </a:solidFill>
              </a:defRPr>
            </a:lvl1pPr>
            <a:lvl2pPr marL="0" indent="0">
              <a:buFont typeface="Open Sans" panose="020B0606030504020204" pitchFamily="34" charset="0"/>
              <a:buChar char="​"/>
              <a:defRPr sz="1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3405006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ist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0F1D41E-848B-4178-A0D2-2A18C6921400}"/>
              </a:ext>
            </a:extLst>
          </p:cNvPr>
          <p:cNvSpPr/>
          <p:nvPr userDrawn="1"/>
        </p:nvSpPr>
        <p:spPr bwMode="hidden">
          <a:xfrm>
            <a:off x="0" y="0"/>
            <a:ext cx="12188822" cy="4332288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1ED419A-30D8-44AB-9256-156B54D449CD}"/>
              </a:ext>
            </a:extLst>
          </p:cNvPr>
          <p:cNvSpPr/>
          <p:nvPr userDrawn="1"/>
        </p:nvSpPr>
        <p:spPr bwMode="white">
          <a:xfrm>
            <a:off x="672527" y="722997"/>
            <a:ext cx="4470400" cy="4470400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E4BDA96F-134D-4855-8751-F1043ABF3B4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00" y="2514599"/>
            <a:ext cx="5027613" cy="1371601"/>
          </a:xfrm>
        </p:spPr>
        <p:txBody>
          <a:bodyPr anchor="ctr"/>
          <a:lstStyle>
            <a:lvl1pPr>
              <a:spcBef>
                <a:spcPts val="0"/>
              </a:spcBef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3" name="Chart Placeholder 22">
            <a:extLst>
              <a:ext uri="{FF2B5EF4-FFF2-40B4-BE49-F238E27FC236}">
                <a16:creationId xmlns:a16="http://schemas.microsoft.com/office/drawing/2014/main" id="{4093E53D-7586-4113-99BD-F45F1343692F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662672" y="722997"/>
            <a:ext cx="4480256" cy="448025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insert a </a:t>
            </a:r>
            <a:br>
              <a:rPr lang="en-US"/>
            </a:br>
            <a:r>
              <a:rPr lang="en-US"/>
              <a:t>Doughnut char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C4F4198-4BE0-4282-8B86-20DED598DC1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8330" y="5507147"/>
            <a:ext cx="1371064" cy="423862"/>
          </a:xfrm>
        </p:spPr>
        <p:txBody>
          <a:bodyPr/>
          <a:lstStyle>
            <a:lvl1pPr algn="l">
              <a:defRPr sz="12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0" name="Text Placeholder 12">
            <a:extLst>
              <a:ext uri="{FF2B5EF4-FFF2-40B4-BE49-F238E27FC236}">
                <a16:creationId xmlns:a16="http://schemas.microsoft.com/office/drawing/2014/main" id="{4B5F4E67-F2E8-4777-B495-668C321DCBA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436416" y="5507147"/>
            <a:ext cx="1371064" cy="423862"/>
          </a:xfrm>
        </p:spPr>
        <p:txBody>
          <a:bodyPr/>
          <a:lstStyle>
            <a:lvl1pPr algn="l">
              <a:defRPr sz="12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1" name="Text Placeholder 12">
            <a:extLst>
              <a:ext uri="{FF2B5EF4-FFF2-40B4-BE49-F238E27FC236}">
                <a16:creationId xmlns:a16="http://schemas.microsoft.com/office/drawing/2014/main" id="{704846F3-64ED-4181-8AEC-68B9734DA96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261103" y="5507147"/>
            <a:ext cx="1371064" cy="423862"/>
          </a:xfrm>
        </p:spPr>
        <p:txBody>
          <a:bodyPr/>
          <a:lstStyle>
            <a:lvl1pPr algn="l">
              <a:defRPr sz="12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2" name="Text Placeholder 12">
            <a:extLst>
              <a:ext uri="{FF2B5EF4-FFF2-40B4-BE49-F238E27FC236}">
                <a16:creationId xmlns:a16="http://schemas.microsoft.com/office/drawing/2014/main" id="{DD17F439-D919-44B7-889F-96A1DAF172D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88109" y="5507147"/>
            <a:ext cx="1371064" cy="423862"/>
          </a:xfrm>
        </p:spPr>
        <p:txBody>
          <a:bodyPr/>
          <a:lstStyle>
            <a:lvl1pPr algn="l">
              <a:defRPr sz="1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3" name="Text Placeholder 12">
            <a:extLst>
              <a:ext uri="{FF2B5EF4-FFF2-40B4-BE49-F238E27FC236}">
                <a16:creationId xmlns:a16="http://schemas.microsoft.com/office/drawing/2014/main" id="{0DA74846-CC03-44FE-9AE5-4975E808F8A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920672" y="5507147"/>
            <a:ext cx="1371064" cy="423862"/>
          </a:xfrm>
        </p:spPr>
        <p:txBody>
          <a:bodyPr/>
          <a:lstStyle>
            <a:lvl1pPr algn="l"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4" name="Text Placeholder 12">
            <a:extLst>
              <a:ext uri="{FF2B5EF4-FFF2-40B4-BE49-F238E27FC236}">
                <a16:creationId xmlns:a16="http://schemas.microsoft.com/office/drawing/2014/main" id="{EB51A67B-FBDC-4AB8-B81A-6B6B96D04F4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750028" y="5507147"/>
            <a:ext cx="1371064" cy="423862"/>
          </a:xfrm>
        </p:spPr>
        <p:txBody>
          <a:bodyPr/>
          <a:lstStyle>
            <a:lvl1pPr algn="l">
              <a:defRPr sz="12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6C03ACE7-B591-43FD-A636-47D01F482F04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317740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55025D71-18A5-4A22-8386-917E1B08C46A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69422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/ 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A88A8ACB-CBE3-4DC0-BBE3-C6829C462CD7}"/>
              </a:ext>
            </a:extLst>
          </p:cNvPr>
          <p:cNvSpPr/>
          <p:nvPr userDrawn="1"/>
        </p:nvSpPr>
        <p:spPr>
          <a:xfrm rot="2700000">
            <a:off x="500103" y="-2250712"/>
            <a:ext cx="2891746" cy="8395793"/>
          </a:xfrm>
          <a:custGeom>
            <a:avLst/>
            <a:gdLst>
              <a:gd name="connsiteX0" fmla="*/ 0 w 2891746"/>
              <a:gd name="connsiteY0" fmla="*/ 2890035 h 8395793"/>
              <a:gd name="connsiteX1" fmla="*/ 1390389 w 2891746"/>
              <a:gd name="connsiteY1" fmla="*/ 1499646 h 8395793"/>
              <a:gd name="connsiteX2" fmla="*/ 1390389 w 2891746"/>
              <a:gd name="connsiteY2" fmla="*/ 1499646 h 8395793"/>
              <a:gd name="connsiteX3" fmla="*/ 2890036 w 2891746"/>
              <a:gd name="connsiteY3" fmla="*/ 0 h 8395793"/>
              <a:gd name="connsiteX4" fmla="*/ 2890036 w 2891746"/>
              <a:gd name="connsiteY4" fmla="*/ 8322767 h 8395793"/>
              <a:gd name="connsiteX5" fmla="*/ 2891746 w 2891746"/>
              <a:gd name="connsiteY5" fmla="*/ 8340727 h 8395793"/>
              <a:gd name="connsiteX6" fmla="*/ 2891741 w 2891746"/>
              <a:gd name="connsiteY6" fmla="*/ 8395793 h 8395793"/>
              <a:gd name="connsiteX7" fmla="*/ 2546313 w 2891746"/>
              <a:gd name="connsiteY7" fmla="*/ 8050365 h 8395793"/>
              <a:gd name="connsiteX8" fmla="*/ 2546315 w 2891746"/>
              <a:gd name="connsiteY8" fmla="*/ 8050364 h 8395793"/>
              <a:gd name="connsiteX9" fmla="*/ 0 w 2891746"/>
              <a:gd name="connsiteY9" fmla="*/ 5504049 h 83957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891746" h="8395793">
                <a:moveTo>
                  <a:pt x="0" y="2890035"/>
                </a:moveTo>
                <a:lnTo>
                  <a:pt x="1390389" y="1499646"/>
                </a:lnTo>
                <a:lnTo>
                  <a:pt x="1390389" y="1499646"/>
                </a:lnTo>
                <a:lnTo>
                  <a:pt x="2890036" y="0"/>
                </a:lnTo>
                <a:lnTo>
                  <a:pt x="2890036" y="8322767"/>
                </a:lnTo>
                <a:lnTo>
                  <a:pt x="2891746" y="8340727"/>
                </a:lnTo>
                <a:lnTo>
                  <a:pt x="2891741" y="8395793"/>
                </a:lnTo>
                <a:lnTo>
                  <a:pt x="2546313" y="8050365"/>
                </a:lnTo>
                <a:lnTo>
                  <a:pt x="2546315" y="8050364"/>
                </a:lnTo>
                <a:lnTo>
                  <a:pt x="0" y="5504049"/>
                </a:lnTo>
                <a:close/>
              </a:path>
            </a:pathLst>
          </a:custGeom>
          <a:gradFill>
            <a:gsLst>
              <a:gs pos="24000">
                <a:schemeClr val="accent4"/>
              </a:gs>
              <a:gs pos="100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5B87096-C8D7-45D0-8DCC-218276F547CC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tx1"/>
          </a:solidFill>
        </p:grpSpPr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FAC0FC71-A82A-4369-B44E-4E8FF53CA1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0D84D398-3251-432F-8986-05570D3BB8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07096BFD-803A-42D4-BA19-C683E35B0D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089E6840-6882-4279-A152-16C7CCB9BE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021DF59C-D6C9-4EC0-90A3-7752F6B722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E4C478B3-2ECE-440E-A04E-B8C84D0416E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2190CFD5-6EEA-46D1-AE5E-D69C2E08F3D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D479A9FB-8CEE-475F-BF22-3B0B11EB4E81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52F598B-F734-42BE-8CB8-5E3FDDD7ED52}"/>
              </a:ext>
            </a:extLst>
          </p:cNvPr>
          <p:cNvSpPr txBox="1"/>
          <p:nvPr userDrawn="1"/>
        </p:nvSpPr>
        <p:spPr>
          <a:xfrm>
            <a:off x="7122912" y="4133697"/>
            <a:ext cx="3585557" cy="69249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r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en-US" sz="5000" b="0" kern="1200" cap="none" baseline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t>Thank You</a:t>
            </a: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5B8D218C-9E1A-4E8B-A343-F3F3A628E78E}"/>
              </a:ext>
            </a:extLst>
          </p:cNvPr>
          <p:cNvSpPr/>
          <p:nvPr userDrawn="1"/>
        </p:nvSpPr>
        <p:spPr>
          <a:xfrm rot="18900000">
            <a:off x="-1253438" y="2913755"/>
            <a:ext cx="6372785" cy="905566"/>
          </a:xfrm>
          <a:custGeom>
            <a:avLst/>
            <a:gdLst>
              <a:gd name="connsiteX0" fmla="*/ 6372785 w 6372785"/>
              <a:gd name="connsiteY0" fmla="*/ 0 h 905566"/>
              <a:gd name="connsiteX1" fmla="*/ 6372785 w 6372785"/>
              <a:gd name="connsiteY1" fmla="*/ 905566 h 905566"/>
              <a:gd name="connsiteX2" fmla="*/ 0 w 6372785"/>
              <a:gd name="connsiteY2" fmla="*/ 905566 h 905566"/>
              <a:gd name="connsiteX3" fmla="*/ 905566 w 6372785"/>
              <a:gd name="connsiteY3" fmla="*/ 0 h 9055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72785" h="905566">
                <a:moveTo>
                  <a:pt x="6372785" y="0"/>
                </a:moveTo>
                <a:lnTo>
                  <a:pt x="6372785" y="905566"/>
                </a:lnTo>
                <a:lnTo>
                  <a:pt x="0" y="905566"/>
                </a:lnTo>
                <a:lnTo>
                  <a:pt x="905566" y="0"/>
                </a:lnTo>
                <a:close/>
              </a:path>
            </a:pathLst>
          </a:custGeom>
          <a:gradFill>
            <a:gsLst>
              <a:gs pos="94000">
                <a:schemeClr val="bg1"/>
              </a:gs>
              <a:gs pos="16000">
                <a:schemeClr val="accent4"/>
              </a:gs>
              <a:gs pos="76000">
                <a:schemeClr val="bg1">
                  <a:alpha val="91000"/>
                </a:schemeClr>
              </a:gs>
            </a:gsLst>
            <a:lin ang="7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275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/ Closing –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171CD93A-658C-4473-839D-9C0B5E8F5F7C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CDFBF2D3-5C06-47C4-A81C-0305B322C5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464D7FA4-CABA-4E4E-ACCA-68953799CF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4EB1261E-CBF9-4479-A018-76C0F24D3B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8C4A243B-FBF5-4C04-8CD0-8E1C4721D9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F67E765D-8E8B-44F9-BE70-63FC0512FD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1B4614B4-F94A-4053-B179-EC5C3F70A9E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E157F005-56AC-4E75-8AA5-582D0D69E2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9473A8DE-DD1F-43EE-8FA2-4C689A038BA5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1594E1E-E234-471D-B539-F75E8CC06D07}"/>
              </a:ext>
            </a:extLst>
          </p:cNvPr>
          <p:cNvSpPr txBox="1"/>
          <p:nvPr userDrawn="1"/>
        </p:nvSpPr>
        <p:spPr>
          <a:xfrm>
            <a:off x="7122912" y="4133697"/>
            <a:ext cx="3585557" cy="69249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r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en-US" sz="5000" b="0" kern="1200" cap="none" baseline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t>Thank You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4C67E5CD-C662-462D-9821-CBF45A809F13}"/>
              </a:ext>
            </a:extLst>
          </p:cNvPr>
          <p:cNvSpPr/>
          <p:nvPr userDrawn="1"/>
        </p:nvSpPr>
        <p:spPr>
          <a:xfrm rot="2700000">
            <a:off x="500103" y="-2250712"/>
            <a:ext cx="2891746" cy="8395793"/>
          </a:xfrm>
          <a:custGeom>
            <a:avLst/>
            <a:gdLst>
              <a:gd name="connsiteX0" fmla="*/ 0 w 2891746"/>
              <a:gd name="connsiteY0" fmla="*/ 2890035 h 8395793"/>
              <a:gd name="connsiteX1" fmla="*/ 1390389 w 2891746"/>
              <a:gd name="connsiteY1" fmla="*/ 1499646 h 8395793"/>
              <a:gd name="connsiteX2" fmla="*/ 1390389 w 2891746"/>
              <a:gd name="connsiteY2" fmla="*/ 1499646 h 8395793"/>
              <a:gd name="connsiteX3" fmla="*/ 2890036 w 2891746"/>
              <a:gd name="connsiteY3" fmla="*/ 0 h 8395793"/>
              <a:gd name="connsiteX4" fmla="*/ 2890036 w 2891746"/>
              <a:gd name="connsiteY4" fmla="*/ 8322767 h 8395793"/>
              <a:gd name="connsiteX5" fmla="*/ 2891746 w 2891746"/>
              <a:gd name="connsiteY5" fmla="*/ 8340727 h 8395793"/>
              <a:gd name="connsiteX6" fmla="*/ 2891741 w 2891746"/>
              <a:gd name="connsiteY6" fmla="*/ 8395793 h 8395793"/>
              <a:gd name="connsiteX7" fmla="*/ 2546313 w 2891746"/>
              <a:gd name="connsiteY7" fmla="*/ 8050365 h 8395793"/>
              <a:gd name="connsiteX8" fmla="*/ 2546315 w 2891746"/>
              <a:gd name="connsiteY8" fmla="*/ 8050364 h 8395793"/>
              <a:gd name="connsiteX9" fmla="*/ 0 w 2891746"/>
              <a:gd name="connsiteY9" fmla="*/ 5504049 h 83957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891746" h="8395793">
                <a:moveTo>
                  <a:pt x="0" y="2890035"/>
                </a:moveTo>
                <a:lnTo>
                  <a:pt x="1390389" y="1499646"/>
                </a:lnTo>
                <a:lnTo>
                  <a:pt x="1390389" y="1499646"/>
                </a:lnTo>
                <a:lnTo>
                  <a:pt x="2890036" y="0"/>
                </a:lnTo>
                <a:lnTo>
                  <a:pt x="2890036" y="8322767"/>
                </a:lnTo>
                <a:lnTo>
                  <a:pt x="2891746" y="8340727"/>
                </a:lnTo>
                <a:lnTo>
                  <a:pt x="2891741" y="8395793"/>
                </a:lnTo>
                <a:lnTo>
                  <a:pt x="2546313" y="8050365"/>
                </a:lnTo>
                <a:lnTo>
                  <a:pt x="2546315" y="8050364"/>
                </a:lnTo>
                <a:lnTo>
                  <a:pt x="0" y="5504049"/>
                </a:lnTo>
                <a:close/>
              </a:path>
            </a:pathLst>
          </a:custGeom>
          <a:gradFill>
            <a:gsLst>
              <a:gs pos="24000">
                <a:srgbClr val="7F35AB"/>
              </a:gs>
              <a:gs pos="87000">
                <a:srgbClr val="264088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DBDC7692-DF81-49A0-9672-BF8E1DB9B662}"/>
              </a:ext>
            </a:extLst>
          </p:cNvPr>
          <p:cNvSpPr/>
          <p:nvPr userDrawn="1"/>
        </p:nvSpPr>
        <p:spPr>
          <a:xfrm rot="18900000">
            <a:off x="-1253438" y="2913755"/>
            <a:ext cx="6372785" cy="905566"/>
          </a:xfrm>
          <a:custGeom>
            <a:avLst/>
            <a:gdLst>
              <a:gd name="connsiteX0" fmla="*/ 6372785 w 6372785"/>
              <a:gd name="connsiteY0" fmla="*/ 0 h 905566"/>
              <a:gd name="connsiteX1" fmla="*/ 6372785 w 6372785"/>
              <a:gd name="connsiteY1" fmla="*/ 905566 h 905566"/>
              <a:gd name="connsiteX2" fmla="*/ 0 w 6372785"/>
              <a:gd name="connsiteY2" fmla="*/ 905566 h 905566"/>
              <a:gd name="connsiteX3" fmla="*/ 905566 w 6372785"/>
              <a:gd name="connsiteY3" fmla="*/ 0 h 9055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72785" h="905566">
                <a:moveTo>
                  <a:pt x="6372785" y="0"/>
                </a:moveTo>
                <a:lnTo>
                  <a:pt x="6372785" y="905566"/>
                </a:lnTo>
                <a:lnTo>
                  <a:pt x="0" y="905566"/>
                </a:lnTo>
                <a:lnTo>
                  <a:pt x="905566" y="0"/>
                </a:lnTo>
                <a:close/>
              </a:path>
            </a:pathLst>
          </a:custGeom>
          <a:gradFill>
            <a:gsLst>
              <a:gs pos="22000">
                <a:srgbClr val="7F35AB">
                  <a:alpha val="94000"/>
                </a:srgbClr>
              </a:gs>
              <a:gs pos="95000">
                <a:schemeClr val="bg1"/>
              </a:gs>
              <a:gs pos="77000">
                <a:schemeClr val="bg1">
                  <a:alpha val="79000"/>
                </a:schemeClr>
              </a:gs>
            </a:gsLst>
            <a:lin ang="8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192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/ Closing –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35B1C875-AD13-4256-9E56-D2FCF94B81E1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E1B65455-CBDD-4B2B-8BB7-0D016422E2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AF202269-FCD9-4D84-82E7-4E6E4F5B7E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68585838-6A08-43B0-827A-D33942E82F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AAAE7B3A-0116-4C7F-85A1-4CDFE95B9B5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9CA84427-5217-43A1-9C71-25D9E1DFDD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A60ADC44-391E-4E50-A7BB-332F2C9E8B4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1DA390D7-F8F5-442A-8A17-9A9EB73BF94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C31C01D4-7C61-4B0F-8304-87A15AD01262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39F709C-1996-44DB-8C47-9CBD9243BF4E}"/>
              </a:ext>
            </a:extLst>
          </p:cNvPr>
          <p:cNvSpPr txBox="1"/>
          <p:nvPr userDrawn="1"/>
        </p:nvSpPr>
        <p:spPr>
          <a:xfrm>
            <a:off x="7122912" y="4133697"/>
            <a:ext cx="3585557" cy="69249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r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en-US" sz="5000" b="0" kern="1200" cap="none" baseline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t>Thank You</a:t>
            </a: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811A168A-1363-4430-87C6-83E5143B39F6}"/>
              </a:ext>
            </a:extLst>
          </p:cNvPr>
          <p:cNvSpPr/>
          <p:nvPr userDrawn="1"/>
        </p:nvSpPr>
        <p:spPr>
          <a:xfrm rot="2700000">
            <a:off x="500103" y="-2250712"/>
            <a:ext cx="2891746" cy="8395793"/>
          </a:xfrm>
          <a:custGeom>
            <a:avLst/>
            <a:gdLst>
              <a:gd name="connsiteX0" fmla="*/ 0 w 2891746"/>
              <a:gd name="connsiteY0" fmla="*/ 2890035 h 8395793"/>
              <a:gd name="connsiteX1" fmla="*/ 1390389 w 2891746"/>
              <a:gd name="connsiteY1" fmla="*/ 1499646 h 8395793"/>
              <a:gd name="connsiteX2" fmla="*/ 1390389 w 2891746"/>
              <a:gd name="connsiteY2" fmla="*/ 1499646 h 8395793"/>
              <a:gd name="connsiteX3" fmla="*/ 2890036 w 2891746"/>
              <a:gd name="connsiteY3" fmla="*/ 0 h 8395793"/>
              <a:gd name="connsiteX4" fmla="*/ 2890036 w 2891746"/>
              <a:gd name="connsiteY4" fmla="*/ 8322767 h 8395793"/>
              <a:gd name="connsiteX5" fmla="*/ 2891746 w 2891746"/>
              <a:gd name="connsiteY5" fmla="*/ 8340727 h 8395793"/>
              <a:gd name="connsiteX6" fmla="*/ 2891741 w 2891746"/>
              <a:gd name="connsiteY6" fmla="*/ 8395793 h 8395793"/>
              <a:gd name="connsiteX7" fmla="*/ 2546313 w 2891746"/>
              <a:gd name="connsiteY7" fmla="*/ 8050365 h 8395793"/>
              <a:gd name="connsiteX8" fmla="*/ 2546315 w 2891746"/>
              <a:gd name="connsiteY8" fmla="*/ 8050364 h 8395793"/>
              <a:gd name="connsiteX9" fmla="*/ 0 w 2891746"/>
              <a:gd name="connsiteY9" fmla="*/ 5504049 h 83957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891746" h="8395793">
                <a:moveTo>
                  <a:pt x="0" y="2890035"/>
                </a:moveTo>
                <a:lnTo>
                  <a:pt x="1390389" y="1499646"/>
                </a:lnTo>
                <a:lnTo>
                  <a:pt x="1390389" y="1499646"/>
                </a:lnTo>
                <a:lnTo>
                  <a:pt x="2890036" y="0"/>
                </a:lnTo>
                <a:lnTo>
                  <a:pt x="2890036" y="8322767"/>
                </a:lnTo>
                <a:lnTo>
                  <a:pt x="2891746" y="8340727"/>
                </a:lnTo>
                <a:lnTo>
                  <a:pt x="2891741" y="8395793"/>
                </a:lnTo>
                <a:lnTo>
                  <a:pt x="2546313" y="8050365"/>
                </a:lnTo>
                <a:lnTo>
                  <a:pt x="2546315" y="8050364"/>
                </a:lnTo>
                <a:lnTo>
                  <a:pt x="0" y="5504049"/>
                </a:lnTo>
                <a:close/>
              </a:path>
            </a:pathLst>
          </a:custGeom>
          <a:gradFill>
            <a:gsLst>
              <a:gs pos="24000">
                <a:schemeClr val="accent3"/>
              </a:gs>
              <a:gs pos="87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2C946B50-6B2C-4792-825B-BEFD24908723}"/>
              </a:ext>
            </a:extLst>
          </p:cNvPr>
          <p:cNvSpPr/>
          <p:nvPr userDrawn="1"/>
        </p:nvSpPr>
        <p:spPr>
          <a:xfrm rot="18900000">
            <a:off x="-1253438" y="2913755"/>
            <a:ext cx="6372785" cy="905566"/>
          </a:xfrm>
          <a:custGeom>
            <a:avLst/>
            <a:gdLst>
              <a:gd name="connsiteX0" fmla="*/ 6372785 w 6372785"/>
              <a:gd name="connsiteY0" fmla="*/ 0 h 905566"/>
              <a:gd name="connsiteX1" fmla="*/ 6372785 w 6372785"/>
              <a:gd name="connsiteY1" fmla="*/ 905566 h 905566"/>
              <a:gd name="connsiteX2" fmla="*/ 0 w 6372785"/>
              <a:gd name="connsiteY2" fmla="*/ 905566 h 905566"/>
              <a:gd name="connsiteX3" fmla="*/ 905566 w 6372785"/>
              <a:gd name="connsiteY3" fmla="*/ 0 h 9055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72785" h="905566">
                <a:moveTo>
                  <a:pt x="6372785" y="0"/>
                </a:moveTo>
                <a:lnTo>
                  <a:pt x="6372785" y="905566"/>
                </a:lnTo>
                <a:lnTo>
                  <a:pt x="0" y="905566"/>
                </a:lnTo>
                <a:lnTo>
                  <a:pt x="905566" y="0"/>
                </a:lnTo>
                <a:close/>
              </a:path>
            </a:pathLst>
          </a:custGeom>
          <a:gradFill>
            <a:gsLst>
              <a:gs pos="24000">
                <a:schemeClr val="accent3"/>
              </a:gs>
              <a:gs pos="80511">
                <a:schemeClr val="bg1">
                  <a:alpha val="76000"/>
                </a:schemeClr>
              </a:gs>
              <a:gs pos="100000">
                <a:schemeClr val="bg1"/>
              </a:gs>
            </a:gsLst>
            <a:lin ang="8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035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nt Che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EA75217-7D87-4C71-8F80-833477FCB149}"/>
              </a:ext>
            </a:extLst>
          </p:cNvPr>
          <p:cNvSpPr/>
          <p:nvPr userDrawn="1"/>
        </p:nvSpPr>
        <p:spPr bwMode="hidden">
          <a:xfrm>
            <a:off x="0" y="0"/>
            <a:ext cx="12188825" cy="68580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49AC7DF-BFC1-4044-BB52-C9946AD8A327}"/>
              </a:ext>
            </a:extLst>
          </p:cNvPr>
          <p:cNvSpPr txBox="1">
            <a:spLocks/>
          </p:cNvSpPr>
          <p:nvPr userDrawn="1"/>
        </p:nvSpPr>
        <p:spPr>
          <a:xfrm>
            <a:off x="564569" y="366687"/>
            <a:ext cx="11001004" cy="7061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5000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3C12014-9EC5-4F8C-BD3D-B60E85EC9FFD}"/>
              </a:ext>
            </a:extLst>
          </p:cNvPr>
          <p:cNvSpPr txBox="1"/>
          <p:nvPr userDrawn="1"/>
        </p:nvSpPr>
        <p:spPr>
          <a:xfrm>
            <a:off x="620895" y="3906060"/>
            <a:ext cx="10962687" cy="23807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30000"/>
              </a:lnSpc>
            </a:pPr>
            <a:r>
              <a:rPr lang="en-US" sz="1800">
                <a:solidFill>
                  <a:schemeClr val="bg1"/>
                </a:solidFill>
              </a:rPr>
              <a:t>If yes, you are good to go!</a:t>
            </a:r>
          </a:p>
          <a:p>
            <a:pPr>
              <a:lnSpc>
                <a:spcPct val="130000"/>
              </a:lnSpc>
            </a:pPr>
            <a:r>
              <a:rPr lang="en-US" sz="1800">
                <a:solidFill>
                  <a:schemeClr val="bg1"/>
                </a:solidFill>
              </a:rPr>
              <a:t>If the answer is no, you do not have the Metropolis font installed.</a:t>
            </a:r>
          </a:p>
          <a:p>
            <a:pPr>
              <a:lnSpc>
                <a:spcPct val="130000"/>
              </a:lnSpc>
            </a:pPr>
            <a:endParaRPr lang="en-US" sz="180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>
                <a:solidFill>
                  <a:schemeClr val="bg1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lick here</a:t>
            </a:r>
            <a:r>
              <a:rPr lang="en-US" sz="1800">
                <a:solidFill>
                  <a:schemeClr val="bg1"/>
                </a:solidFill>
              </a:rPr>
              <a:t> to download the font</a:t>
            </a:r>
            <a:r>
              <a:rPr lang="en-US" sz="1800" baseline="0">
                <a:solidFill>
                  <a:schemeClr val="bg1"/>
                </a:solidFill>
              </a:rPr>
              <a:t>.</a:t>
            </a:r>
          </a:p>
          <a:p>
            <a:pPr marL="400050" marR="0" lvl="0" indent="-227013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strike="noStrike" baseline="0">
                <a:solidFill>
                  <a:schemeClr val="bg1"/>
                </a:solidFill>
              </a:rPr>
              <a:t>Log in with SSO and select the Brand Assets tab in Brand Central</a:t>
            </a:r>
          </a:p>
          <a:p>
            <a:pPr>
              <a:lnSpc>
                <a:spcPct val="130000"/>
              </a:lnSpc>
            </a:pPr>
            <a:r>
              <a:rPr lang="en-US" sz="1800">
                <a:solidFill>
                  <a:schemeClr val="bg1"/>
                </a:solidFill>
              </a:rPr>
              <a:t>Need more information on how to install fonts? </a:t>
            </a:r>
            <a:br>
              <a:rPr lang="en-US" sz="1800">
                <a:solidFill>
                  <a:schemeClr val="bg1"/>
                </a:solidFill>
              </a:rPr>
            </a:br>
            <a:r>
              <a:rPr lang="en-US" sz="1800">
                <a:solidFill>
                  <a:schemeClr val="bg1"/>
                </a:solidFill>
              </a:rPr>
              <a:t>Refer to the quick-start section in the template guidelines or contact Oasis.</a:t>
            </a:r>
          </a:p>
          <a:p>
            <a:pPr>
              <a:lnSpc>
                <a:spcPct val="130000"/>
              </a:lnSpc>
            </a:pPr>
            <a:r>
              <a:rPr lang="en-US" sz="1800">
                <a:solidFill>
                  <a:schemeClr val="bg1"/>
                </a:solidFill>
              </a:rPr>
              <a:t> </a:t>
            </a:r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DDDC76C1-EE98-469A-A6AD-21148374D6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98114" y="2908233"/>
            <a:ext cx="5354637" cy="895350"/>
          </a:xfrm>
        </p:spPr>
        <p:txBody>
          <a:bodyPr/>
          <a:lstStyle>
            <a:lvl1pPr>
              <a:defRPr sz="4900">
                <a:solidFill>
                  <a:schemeClr val="bg1"/>
                </a:solidFill>
              </a:defRPr>
            </a:lvl1pPr>
            <a:lvl2pPr>
              <a:defRPr sz="3600">
                <a:solidFill>
                  <a:schemeClr val="bg1"/>
                </a:solidFill>
              </a:defRPr>
            </a:lvl2pPr>
            <a:lvl3pPr>
              <a:defRPr sz="32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etropolis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029BE03A-21B0-4196-A033-4E90957BA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z="2800" dirty="0">
                <a:solidFill>
                  <a:schemeClr val="bg1"/>
                </a:solidFill>
              </a:rPr>
              <a:t>Metropolis Font Check</a:t>
            </a:r>
          </a:p>
        </p:txBody>
      </p:sp>
      <p:sp>
        <p:nvSpPr>
          <p:cNvPr id="51" name="Subtitle 2">
            <a:extLst>
              <a:ext uri="{FF2B5EF4-FFF2-40B4-BE49-F238E27FC236}">
                <a16:creationId xmlns:a16="http://schemas.microsoft.com/office/drawing/2014/main" id="{CB049186-CC25-4BD3-8410-4DE62ED4B08B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38105"/>
            <a:ext cx="10962687" cy="247743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Is the Metropolis font installed on my computer?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51A92F24-FC82-4FA9-9362-801284731CC8}"/>
              </a:ext>
            </a:extLst>
          </p:cNvPr>
          <p:cNvSpPr/>
          <p:nvPr userDrawn="1"/>
        </p:nvSpPr>
        <p:spPr bwMode="gray">
          <a:xfrm>
            <a:off x="623363" y="1616678"/>
            <a:ext cx="4633737" cy="2441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100">
                <a:solidFill>
                  <a:schemeClr val="bg1"/>
                </a:solidFill>
              </a:rPr>
              <a:t>Do the fonts in the words below match on your screen?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B59E37DB-3217-4772-AE8E-E9673A139975}"/>
              </a:ext>
            </a:extLst>
          </p:cNvPr>
          <p:cNvCxnSpPr>
            <a:cxnSpLocks/>
          </p:cNvCxnSpPr>
          <p:nvPr userDrawn="1"/>
        </p:nvCxnSpPr>
        <p:spPr>
          <a:xfrm>
            <a:off x="623364" y="1860778"/>
            <a:ext cx="7299849" cy="0"/>
          </a:xfrm>
          <a:prstGeom prst="line">
            <a:avLst/>
          </a:prstGeom>
          <a:ln w="25400">
            <a:solidFill>
              <a:schemeClr val="bg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 Placeholder 43">
            <a:extLst>
              <a:ext uri="{FF2B5EF4-FFF2-40B4-BE49-F238E27FC236}">
                <a16:creationId xmlns:a16="http://schemas.microsoft.com/office/drawing/2014/main" id="{6C28CB3F-7257-499E-B2F6-B9B1B38D82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83683" y="2908233"/>
            <a:ext cx="5354637" cy="895350"/>
          </a:xfrm>
        </p:spPr>
        <p:txBody>
          <a:bodyPr/>
          <a:lstStyle>
            <a:lvl1pPr>
              <a:defRPr sz="4900">
                <a:solidFill>
                  <a:schemeClr val="bg1"/>
                </a:solidFill>
                <a:latin typeface="+mj-lt"/>
              </a:defRPr>
            </a:lvl1pPr>
            <a:lvl2pPr>
              <a:defRPr sz="3600">
                <a:solidFill>
                  <a:schemeClr val="bg1"/>
                </a:solidFill>
              </a:defRPr>
            </a:lvl2pPr>
            <a:lvl3pPr>
              <a:defRPr sz="32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etropolis Light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365F6992-4889-4035-986F-E69979C7B028}"/>
              </a:ext>
            </a:extLst>
          </p:cNvPr>
          <p:cNvGrpSpPr/>
          <p:nvPr userDrawn="1"/>
        </p:nvGrpSpPr>
        <p:grpSpPr>
          <a:xfrm>
            <a:off x="6054922" y="2225997"/>
            <a:ext cx="4699461" cy="542276"/>
            <a:chOff x="6685343" y="2270804"/>
            <a:chExt cx="4699461" cy="542276"/>
          </a:xfrm>
          <a:solidFill>
            <a:schemeClr val="bg1"/>
          </a:solidFill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157C5E2C-9A8F-469D-810E-FD271477DD05}"/>
                </a:ext>
              </a:extLst>
            </p:cNvPr>
            <p:cNvSpPr/>
            <p:nvPr/>
          </p:nvSpPr>
          <p:spPr>
            <a:xfrm>
              <a:off x="9320530" y="2270804"/>
              <a:ext cx="53167" cy="53167"/>
            </a:xfrm>
            <a:custGeom>
              <a:avLst/>
              <a:gdLst/>
              <a:ahLst/>
              <a:cxnLst/>
              <a:rect l="l" t="t" r="r" b="b"/>
              <a:pathLst>
                <a:path w="53167" h="53167">
                  <a:moveTo>
                    <a:pt x="26583" y="0"/>
                  </a:moveTo>
                  <a:cubicBezTo>
                    <a:pt x="34183" y="219"/>
                    <a:pt x="40467" y="2872"/>
                    <a:pt x="45439" y="7959"/>
                  </a:cubicBezTo>
                  <a:cubicBezTo>
                    <a:pt x="50411" y="13047"/>
                    <a:pt x="52987" y="19255"/>
                    <a:pt x="53167" y="26583"/>
                  </a:cubicBezTo>
                  <a:cubicBezTo>
                    <a:pt x="52987" y="34182"/>
                    <a:pt x="50411" y="40468"/>
                    <a:pt x="45439" y="45439"/>
                  </a:cubicBezTo>
                  <a:cubicBezTo>
                    <a:pt x="40467" y="50411"/>
                    <a:pt x="34183" y="52987"/>
                    <a:pt x="26583" y="53167"/>
                  </a:cubicBezTo>
                  <a:cubicBezTo>
                    <a:pt x="18985" y="52987"/>
                    <a:pt x="12699" y="50411"/>
                    <a:pt x="7727" y="45439"/>
                  </a:cubicBezTo>
                  <a:cubicBezTo>
                    <a:pt x="2756" y="40468"/>
                    <a:pt x="180" y="34182"/>
                    <a:pt x="0" y="26583"/>
                  </a:cubicBezTo>
                  <a:cubicBezTo>
                    <a:pt x="180" y="19255"/>
                    <a:pt x="2756" y="13047"/>
                    <a:pt x="7727" y="7959"/>
                  </a:cubicBezTo>
                  <a:cubicBezTo>
                    <a:pt x="12699" y="2872"/>
                    <a:pt x="18985" y="219"/>
                    <a:pt x="26583" y="0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16D8268-B556-4A2E-A24F-2098FB05E4CA}"/>
                </a:ext>
              </a:extLst>
            </p:cNvPr>
            <p:cNvSpPr/>
            <p:nvPr/>
          </p:nvSpPr>
          <p:spPr>
            <a:xfrm>
              <a:off x="10320655" y="2270804"/>
              <a:ext cx="53167" cy="53167"/>
            </a:xfrm>
            <a:custGeom>
              <a:avLst/>
              <a:gdLst/>
              <a:ahLst/>
              <a:cxnLst/>
              <a:rect l="l" t="t" r="r" b="b"/>
              <a:pathLst>
                <a:path w="53167" h="53167">
                  <a:moveTo>
                    <a:pt x="26583" y="0"/>
                  </a:moveTo>
                  <a:cubicBezTo>
                    <a:pt x="34182" y="219"/>
                    <a:pt x="40468" y="2872"/>
                    <a:pt x="45439" y="7959"/>
                  </a:cubicBezTo>
                  <a:cubicBezTo>
                    <a:pt x="50411" y="13047"/>
                    <a:pt x="52986" y="19255"/>
                    <a:pt x="53167" y="26583"/>
                  </a:cubicBezTo>
                  <a:cubicBezTo>
                    <a:pt x="52986" y="34182"/>
                    <a:pt x="50411" y="40468"/>
                    <a:pt x="45439" y="45439"/>
                  </a:cubicBezTo>
                  <a:cubicBezTo>
                    <a:pt x="40468" y="50411"/>
                    <a:pt x="34182" y="52987"/>
                    <a:pt x="26583" y="53167"/>
                  </a:cubicBezTo>
                  <a:cubicBezTo>
                    <a:pt x="18984" y="52987"/>
                    <a:pt x="12699" y="50411"/>
                    <a:pt x="7727" y="45439"/>
                  </a:cubicBezTo>
                  <a:cubicBezTo>
                    <a:pt x="2756" y="40468"/>
                    <a:pt x="180" y="34182"/>
                    <a:pt x="0" y="26583"/>
                  </a:cubicBezTo>
                  <a:cubicBezTo>
                    <a:pt x="180" y="19255"/>
                    <a:pt x="2756" y="13047"/>
                    <a:pt x="7727" y="7959"/>
                  </a:cubicBezTo>
                  <a:cubicBezTo>
                    <a:pt x="12699" y="2872"/>
                    <a:pt x="18984" y="219"/>
                    <a:pt x="26583" y="0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54C27A0-5E49-4C0A-B9A5-777E28510D88}"/>
                </a:ext>
              </a:extLst>
            </p:cNvPr>
            <p:cNvSpPr/>
            <p:nvPr/>
          </p:nvSpPr>
          <p:spPr>
            <a:xfrm>
              <a:off x="9176178" y="2273899"/>
              <a:ext cx="38309" cy="432691"/>
            </a:xfrm>
            <a:custGeom>
              <a:avLst/>
              <a:gdLst/>
              <a:ahLst/>
              <a:cxnLst/>
              <a:rect l="l" t="t" r="r" b="b"/>
              <a:pathLst>
                <a:path w="38309" h="432691">
                  <a:moveTo>
                    <a:pt x="0" y="0"/>
                  </a:moveTo>
                  <a:lnTo>
                    <a:pt x="38309" y="0"/>
                  </a:lnTo>
                  <a:lnTo>
                    <a:pt x="38309" y="432691"/>
                  </a:lnTo>
                  <a:lnTo>
                    <a:pt x="0" y="43269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B6DC2D46-24E8-497A-AE7E-3F29CF07D0E0}"/>
                </a:ext>
              </a:extLst>
            </p:cNvPr>
            <p:cNvSpPr/>
            <p:nvPr/>
          </p:nvSpPr>
          <p:spPr>
            <a:xfrm>
              <a:off x="10871628" y="2273899"/>
              <a:ext cx="263051" cy="432691"/>
            </a:xfrm>
            <a:custGeom>
              <a:avLst/>
              <a:gdLst/>
              <a:ahLst/>
              <a:cxnLst/>
              <a:rect l="l" t="t" r="r" b="b"/>
              <a:pathLst>
                <a:path w="263051" h="432691">
                  <a:moveTo>
                    <a:pt x="0" y="0"/>
                  </a:moveTo>
                  <a:lnTo>
                    <a:pt x="38309" y="0"/>
                  </a:lnTo>
                  <a:lnTo>
                    <a:pt x="38309" y="164610"/>
                  </a:lnTo>
                  <a:cubicBezTo>
                    <a:pt x="47303" y="146708"/>
                    <a:pt x="61058" y="132407"/>
                    <a:pt x="79575" y="121706"/>
                  </a:cubicBezTo>
                  <a:cubicBezTo>
                    <a:pt x="98091" y="111006"/>
                    <a:pt x="119435" y="105521"/>
                    <a:pt x="143603" y="105252"/>
                  </a:cubicBezTo>
                  <a:cubicBezTo>
                    <a:pt x="179471" y="105803"/>
                    <a:pt x="208206" y="117063"/>
                    <a:pt x="229805" y="139033"/>
                  </a:cubicBezTo>
                  <a:cubicBezTo>
                    <a:pt x="251405" y="161002"/>
                    <a:pt x="262487" y="190372"/>
                    <a:pt x="263051" y="227142"/>
                  </a:cubicBezTo>
                  <a:lnTo>
                    <a:pt x="263051" y="432691"/>
                  </a:lnTo>
                  <a:lnTo>
                    <a:pt x="224743" y="432691"/>
                  </a:lnTo>
                  <a:lnTo>
                    <a:pt x="224743" y="232095"/>
                  </a:lnTo>
                  <a:cubicBezTo>
                    <a:pt x="224343" y="204441"/>
                    <a:pt x="216316" y="182359"/>
                    <a:pt x="200663" y="165849"/>
                  </a:cubicBezTo>
                  <a:cubicBezTo>
                    <a:pt x="185011" y="149339"/>
                    <a:pt x="164133" y="140877"/>
                    <a:pt x="138029" y="140464"/>
                  </a:cubicBezTo>
                  <a:cubicBezTo>
                    <a:pt x="109215" y="141019"/>
                    <a:pt x="85549" y="149506"/>
                    <a:pt x="67032" y="165926"/>
                  </a:cubicBezTo>
                  <a:cubicBezTo>
                    <a:pt x="48515" y="182346"/>
                    <a:pt x="38941" y="203370"/>
                    <a:pt x="38309" y="228999"/>
                  </a:cubicBezTo>
                  <a:lnTo>
                    <a:pt x="38309" y="432691"/>
                  </a:lnTo>
                  <a:lnTo>
                    <a:pt x="0" y="43269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0B6A4DE9-31A3-428E-B420-424F68D79E41}"/>
                </a:ext>
              </a:extLst>
            </p:cNvPr>
            <p:cNvSpPr/>
            <p:nvPr/>
          </p:nvSpPr>
          <p:spPr>
            <a:xfrm>
              <a:off x="6685343" y="2281329"/>
              <a:ext cx="403593" cy="425261"/>
            </a:xfrm>
            <a:custGeom>
              <a:avLst/>
              <a:gdLst/>
              <a:ahLst/>
              <a:cxnLst/>
              <a:rect l="l" t="t" r="r" b="b"/>
              <a:pathLst>
                <a:path w="403593" h="425261">
                  <a:moveTo>
                    <a:pt x="0" y="0"/>
                  </a:moveTo>
                  <a:lnTo>
                    <a:pt x="39547" y="0"/>
                  </a:lnTo>
                  <a:lnTo>
                    <a:pt x="201797" y="304554"/>
                  </a:lnTo>
                  <a:lnTo>
                    <a:pt x="364046" y="0"/>
                  </a:lnTo>
                  <a:lnTo>
                    <a:pt x="403593" y="0"/>
                  </a:lnTo>
                  <a:lnTo>
                    <a:pt x="403593" y="425261"/>
                  </a:lnTo>
                  <a:lnTo>
                    <a:pt x="364046" y="425261"/>
                  </a:lnTo>
                  <a:lnTo>
                    <a:pt x="364046" y="84186"/>
                  </a:lnTo>
                  <a:lnTo>
                    <a:pt x="201797" y="388740"/>
                  </a:lnTo>
                  <a:lnTo>
                    <a:pt x="39547" y="84186"/>
                  </a:lnTo>
                  <a:lnTo>
                    <a:pt x="39547" y="425261"/>
                  </a:lnTo>
                  <a:lnTo>
                    <a:pt x="0" y="42526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9221A60B-A1D2-4D5F-ADCD-2B3BF1989BD1}"/>
                </a:ext>
              </a:extLst>
            </p:cNvPr>
            <p:cNvSpPr/>
            <p:nvPr/>
          </p:nvSpPr>
          <p:spPr>
            <a:xfrm>
              <a:off x="9980992" y="2281329"/>
              <a:ext cx="276052" cy="425261"/>
            </a:xfrm>
            <a:custGeom>
              <a:avLst/>
              <a:gdLst/>
              <a:ahLst/>
              <a:cxnLst/>
              <a:rect l="l" t="t" r="r" b="b"/>
              <a:pathLst>
                <a:path w="276052" h="425261">
                  <a:moveTo>
                    <a:pt x="0" y="0"/>
                  </a:moveTo>
                  <a:lnTo>
                    <a:pt x="39547" y="0"/>
                  </a:lnTo>
                  <a:lnTo>
                    <a:pt x="39547" y="387572"/>
                  </a:lnTo>
                  <a:lnTo>
                    <a:pt x="276052" y="387572"/>
                  </a:lnTo>
                  <a:lnTo>
                    <a:pt x="276052" y="425261"/>
                  </a:lnTo>
                  <a:lnTo>
                    <a:pt x="0" y="42526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BB738972-CA48-44E6-B7DD-E4E8B81F3D9E}"/>
                </a:ext>
              </a:extLst>
            </p:cNvPr>
            <p:cNvSpPr/>
            <p:nvPr/>
          </p:nvSpPr>
          <p:spPr>
            <a:xfrm>
              <a:off x="7532020" y="2298664"/>
              <a:ext cx="185660" cy="415356"/>
            </a:xfrm>
            <a:custGeom>
              <a:avLst/>
              <a:gdLst/>
              <a:ahLst/>
              <a:cxnLst/>
              <a:rect l="l" t="t" r="r" b="b"/>
              <a:pathLst>
                <a:path w="185660" h="415356">
                  <a:moveTo>
                    <a:pt x="52006" y="0"/>
                  </a:moveTo>
                  <a:lnTo>
                    <a:pt x="90314" y="0"/>
                  </a:lnTo>
                  <a:lnTo>
                    <a:pt x="90314" y="87916"/>
                  </a:lnTo>
                  <a:lnTo>
                    <a:pt x="170801" y="87916"/>
                  </a:lnTo>
                  <a:lnTo>
                    <a:pt x="170801" y="123129"/>
                  </a:lnTo>
                  <a:lnTo>
                    <a:pt x="90314" y="123129"/>
                  </a:lnTo>
                  <a:lnTo>
                    <a:pt x="90314" y="333695"/>
                  </a:lnTo>
                  <a:cubicBezTo>
                    <a:pt x="90598" y="347552"/>
                    <a:pt x="94365" y="358699"/>
                    <a:pt x="101613" y="367138"/>
                  </a:cubicBezTo>
                  <a:cubicBezTo>
                    <a:pt x="108862" y="375576"/>
                    <a:pt x="117891" y="379911"/>
                    <a:pt x="128700" y="380143"/>
                  </a:cubicBezTo>
                  <a:cubicBezTo>
                    <a:pt x="136207" y="380079"/>
                    <a:pt x="143172" y="378814"/>
                    <a:pt x="149596" y="376350"/>
                  </a:cubicBezTo>
                  <a:cubicBezTo>
                    <a:pt x="156019" y="373886"/>
                    <a:pt x="161436" y="370608"/>
                    <a:pt x="165848" y="366518"/>
                  </a:cubicBezTo>
                  <a:lnTo>
                    <a:pt x="185660" y="394970"/>
                  </a:lnTo>
                  <a:cubicBezTo>
                    <a:pt x="177185" y="401495"/>
                    <a:pt x="167821" y="406514"/>
                    <a:pt x="157567" y="410028"/>
                  </a:cubicBezTo>
                  <a:cubicBezTo>
                    <a:pt x="147313" y="413541"/>
                    <a:pt x="136865" y="415317"/>
                    <a:pt x="126224" y="415356"/>
                  </a:cubicBezTo>
                  <a:cubicBezTo>
                    <a:pt x="104177" y="414934"/>
                    <a:pt x="86392" y="407284"/>
                    <a:pt x="72869" y="392407"/>
                  </a:cubicBezTo>
                  <a:cubicBezTo>
                    <a:pt x="59345" y="377530"/>
                    <a:pt x="52391" y="357959"/>
                    <a:pt x="52006" y="333695"/>
                  </a:cubicBezTo>
                  <a:lnTo>
                    <a:pt x="52006" y="123129"/>
                  </a:lnTo>
                  <a:lnTo>
                    <a:pt x="0" y="123129"/>
                  </a:lnTo>
                  <a:lnTo>
                    <a:pt x="0" y="87916"/>
                  </a:lnTo>
                  <a:lnTo>
                    <a:pt x="52006" y="87916"/>
                  </a:lnTo>
                  <a:lnTo>
                    <a:pt x="52006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C0E3A6F-0249-4454-864B-04BF720A73B8}"/>
                </a:ext>
              </a:extLst>
            </p:cNvPr>
            <p:cNvSpPr/>
            <p:nvPr/>
          </p:nvSpPr>
          <p:spPr>
            <a:xfrm>
              <a:off x="11199144" y="2298664"/>
              <a:ext cx="185660" cy="415356"/>
            </a:xfrm>
            <a:custGeom>
              <a:avLst/>
              <a:gdLst/>
              <a:ahLst/>
              <a:cxnLst/>
              <a:rect l="l" t="t" r="r" b="b"/>
              <a:pathLst>
                <a:path w="185660" h="415356">
                  <a:moveTo>
                    <a:pt x="52006" y="0"/>
                  </a:moveTo>
                  <a:lnTo>
                    <a:pt x="90315" y="0"/>
                  </a:lnTo>
                  <a:lnTo>
                    <a:pt x="90315" y="87916"/>
                  </a:lnTo>
                  <a:lnTo>
                    <a:pt x="170802" y="87916"/>
                  </a:lnTo>
                  <a:lnTo>
                    <a:pt x="170802" y="123129"/>
                  </a:lnTo>
                  <a:lnTo>
                    <a:pt x="90315" y="123129"/>
                  </a:lnTo>
                  <a:lnTo>
                    <a:pt x="90315" y="333695"/>
                  </a:lnTo>
                  <a:cubicBezTo>
                    <a:pt x="90599" y="347552"/>
                    <a:pt x="94366" y="358699"/>
                    <a:pt x="101614" y="367138"/>
                  </a:cubicBezTo>
                  <a:cubicBezTo>
                    <a:pt x="108863" y="375576"/>
                    <a:pt x="117892" y="379911"/>
                    <a:pt x="128701" y="380143"/>
                  </a:cubicBezTo>
                  <a:cubicBezTo>
                    <a:pt x="136208" y="380079"/>
                    <a:pt x="143173" y="378814"/>
                    <a:pt x="149596" y="376350"/>
                  </a:cubicBezTo>
                  <a:cubicBezTo>
                    <a:pt x="156020" y="373886"/>
                    <a:pt x="161437" y="370608"/>
                    <a:pt x="165848" y="366518"/>
                  </a:cubicBezTo>
                  <a:lnTo>
                    <a:pt x="185660" y="394970"/>
                  </a:lnTo>
                  <a:cubicBezTo>
                    <a:pt x="177186" y="401495"/>
                    <a:pt x="167822" y="406514"/>
                    <a:pt x="157568" y="410028"/>
                  </a:cubicBezTo>
                  <a:cubicBezTo>
                    <a:pt x="147314" y="413541"/>
                    <a:pt x="136866" y="415317"/>
                    <a:pt x="126224" y="415356"/>
                  </a:cubicBezTo>
                  <a:cubicBezTo>
                    <a:pt x="104178" y="414934"/>
                    <a:pt x="86393" y="407284"/>
                    <a:pt x="72870" y="392407"/>
                  </a:cubicBezTo>
                  <a:cubicBezTo>
                    <a:pt x="59346" y="377530"/>
                    <a:pt x="52392" y="357959"/>
                    <a:pt x="52006" y="333695"/>
                  </a:cubicBezTo>
                  <a:lnTo>
                    <a:pt x="52006" y="123129"/>
                  </a:lnTo>
                  <a:lnTo>
                    <a:pt x="0" y="123129"/>
                  </a:lnTo>
                  <a:lnTo>
                    <a:pt x="0" y="87916"/>
                  </a:lnTo>
                  <a:lnTo>
                    <a:pt x="52006" y="87916"/>
                  </a:lnTo>
                  <a:lnTo>
                    <a:pt x="52006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BD5D52F-83DC-4C29-BFF9-C29AC76D694C}"/>
                </a:ext>
              </a:extLst>
            </p:cNvPr>
            <p:cNvSpPr/>
            <p:nvPr/>
          </p:nvSpPr>
          <p:spPr>
            <a:xfrm>
              <a:off x="7184309" y="2379151"/>
              <a:ext cx="309486" cy="334869"/>
            </a:xfrm>
            <a:custGeom>
              <a:avLst/>
              <a:gdLst/>
              <a:ahLst/>
              <a:cxnLst/>
              <a:rect l="l" t="t" r="r" b="b"/>
              <a:pathLst>
                <a:path w="309486" h="334869">
                  <a:moveTo>
                    <a:pt x="157840" y="0"/>
                  </a:moveTo>
                  <a:cubicBezTo>
                    <a:pt x="205615" y="720"/>
                    <a:pt x="242734" y="17376"/>
                    <a:pt x="269197" y="49965"/>
                  </a:cubicBezTo>
                  <a:cubicBezTo>
                    <a:pt x="295660" y="82555"/>
                    <a:pt x="309089" y="126754"/>
                    <a:pt x="309486" y="182564"/>
                  </a:cubicBezTo>
                  <a:lnTo>
                    <a:pt x="38928" y="182564"/>
                  </a:lnTo>
                  <a:cubicBezTo>
                    <a:pt x="42863" y="216445"/>
                    <a:pt x="55740" y="244247"/>
                    <a:pt x="77559" y="265969"/>
                  </a:cubicBezTo>
                  <a:cubicBezTo>
                    <a:pt x="99377" y="287692"/>
                    <a:pt x="126963" y="298921"/>
                    <a:pt x="160317" y="299656"/>
                  </a:cubicBezTo>
                  <a:cubicBezTo>
                    <a:pt x="181013" y="299488"/>
                    <a:pt x="201090" y="295797"/>
                    <a:pt x="220547" y="288582"/>
                  </a:cubicBezTo>
                  <a:cubicBezTo>
                    <a:pt x="240005" y="281367"/>
                    <a:pt x="255436" y="271635"/>
                    <a:pt x="266842" y="259387"/>
                  </a:cubicBezTo>
                  <a:lnTo>
                    <a:pt x="290950" y="285407"/>
                  </a:lnTo>
                  <a:cubicBezTo>
                    <a:pt x="276534" y="300459"/>
                    <a:pt x="257271" y="312414"/>
                    <a:pt x="233160" y="321273"/>
                  </a:cubicBezTo>
                  <a:cubicBezTo>
                    <a:pt x="209050" y="330132"/>
                    <a:pt x="184975" y="334664"/>
                    <a:pt x="160937" y="334869"/>
                  </a:cubicBezTo>
                  <a:cubicBezTo>
                    <a:pt x="132043" y="334568"/>
                    <a:pt x="105473" y="327127"/>
                    <a:pt x="81227" y="312548"/>
                  </a:cubicBezTo>
                  <a:cubicBezTo>
                    <a:pt x="56980" y="297968"/>
                    <a:pt x="37482" y="278056"/>
                    <a:pt x="22732" y="252812"/>
                  </a:cubicBezTo>
                  <a:cubicBezTo>
                    <a:pt x="7982" y="227567"/>
                    <a:pt x="405" y="198797"/>
                    <a:pt x="0" y="166502"/>
                  </a:cubicBezTo>
                  <a:cubicBezTo>
                    <a:pt x="343" y="134622"/>
                    <a:pt x="7561" y="106198"/>
                    <a:pt x="21654" y="81230"/>
                  </a:cubicBezTo>
                  <a:cubicBezTo>
                    <a:pt x="35746" y="56262"/>
                    <a:pt x="54656" y="36557"/>
                    <a:pt x="78382" y="22115"/>
                  </a:cubicBezTo>
                  <a:cubicBezTo>
                    <a:pt x="102109" y="7673"/>
                    <a:pt x="128595" y="301"/>
                    <a:pt x="157840" y="0"/>
                  </a:cubicBezTo>
                  <a:close/>
                  <a:moveTo>
                    <a:pt x="159079" y="35212"/>
                  </a:moveTo>
                  <a:cubicBezTo>
                    <a:pt x="127505" y="35742"/>
                    <a:pt x="100848" y="46145"/>
                    <a:pt x="79107" y="66423"/>
                  </a:cubicBezTo>
                  <a:cubicBezTo>
                    <a:pt x="57366" y="86700"/>
                    <a:pt x="44179" y="113676"/>
                    <a:pt x="39547" y="147351"/>
                  </a:cubicBezTo>
                  <a:lnTo>
                    <a:pt x="271796" y="147351"/>
                  </a:lnTo>
                  <a:cubicBezTo>
                    <a:pt x="268881" y="114489"/>
                    <a:pt x="257836" y="87745"/>
                    <a:pt x="238663" y="67120"/>
                  </a:cubicBezTo>
                  <a:cubicBezTo>
                    <a:pt x="219489" y="46494"/>
                    <a:pt x="192961" y="35858"/>
                    <a:pt x="159079" y="35212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8A50D27D-9134-4260-9625-A03ACB43BB75}"/>
                </a:ext>
              </a:extLst>
            </p:cNvPr>
            <p:cNvSpPr/>
            <p:nvPr/>
          </p:nvSpPr>
          <p:spPr>
            <a:xfrm>
              <a:off x="7784908" y="2379151"/>
              <a:ext cx="162134" cy="327439"/>
            </a:xfrm>
            <a:custGeom>
              <a:avLst/>
              <a:gdLst/>
              <a:ahLst/>
              <a:cxnLst/>
              <a:rect l="l" t="t" r="r" b="b"/>
              <a:pathLst>
                <a:path w="162134" h="327439">
                  <a:moveTo>
                    <a:pt x="162134" y="0"/>
                  </a:moveTo>
                  <a:lnTo>
                    <a:pt x="162134" y="35212"/>
                  </a:lnTo>
                  <a:cubicBezTo>
                    <a:pt x="125283" y="35792"/>
                    <a:pt x="95591" y="46396"/>
                    <a:pt x="73057" y="67025"/>
                  </a:cubicBezTo>
                  <a:cubicBezTo>
                    <a:pt x="50523" y="87655"/>
                    <a:pt x="38941" y="114831"/>
                    <a:pt x="38309" y="148556"/>
                  </a:cubicBezTo>
                  <a:lnTo>
                    <a:pt x="38309" y="327439"/>
                  </a:lnTo>
                  <a:lnTo>
                    <a:pt x="0" y="327439"/>
                  </a:lnTo>
                  <a:lnTo>
                    <a:pt x="0" y="7429"/>
                  </a:lnTo>
                  <a:lnTo>
                    <a:pt x="38309" y="7429"/>
                  </a:lnTo>
                  <a:lnTo>
                    <a:pt x="38309" y="74217"/>
                  </a:lnTo>
                  <a:cubicBezTo>
                    <a:pt x="47338" y="51898"/>
                    <a:pt x="62713" y="34035"/>
                    <a:pt x="84434" y="20628"/>
                  </a:cubicBezTo>
                  <a:cubicBezTo>
                    <a:pt x="106154" y="7222"/>
                    <a:pt x="132054" y="345"/>
                    <a:pt x="162134" y="0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8AD9AAAC-AEE1-41E7-98D0-8AAAA66A65F2}"/>
                </a:ext>
              </a:extLst>
            </p:cNvPr>
            <p:cNvSpPr/>
            <p:nvPr/>
          </p:nvSpPr>
          <p:spPr>
            <a:xfrm>
              <a:off x="7992696" y="2379151"/>
              <a:ext cx="330536" cy="334869"/>
            </a:xfrm>
            <a:custGeom>
              <a:avLst/>
              <a:gdLst/>
              <a:ahLst/>
              <a:cxnLst/>
              <a:rect l="l" t="t" r="r" b="b"/>
              <a:pathLst>
                <a:path w="330536" h="334869">
                  <a:moveTo>
                    <a:pt x="165267" y="0"/>
                  </a:moveTo>
                  <a:cubicBezTo>
                    <a:pt x="195773" y="366"/>
                    <a:pt x="223451" y="8019"/>
                    <a:pt x="248301" y="22960"/>
                  </a:cubicBezTo>
                  <a:cubicBezTo>
                    <a:pt x="273151" y="37901"/>
                    <a:pt x="292978" y="57935"/>
                    <a:pt x="307782" y="83060"/>
                  </a:cubicBezTo>
                  <a:cubicBezTo>
                    <a:pt x="322585" y="108185"/>
                    <a:pt x="330170" y="136207"/>
                    <a:pt x="330536" y="167125"/>
                  </a:cubicBezTo>
                  <a:cubicBezTo>
                    <a:pt x="330170" y="198051"/>
                    <a:pt x="322585" y="226126"/>
                    <a:pt x="307782" y="251351"/>
                  </a:cubicBezTo>
                  <a:cubicBezTo>
                    <a:pt x="292978" y="276575"/>
                    <a:pt x="273151" y="296708"/>
                    <a:pt x="248301" y="311748"/>
                  </a:cubicBezTo>
                  <a:cubicBezTo>
                    <a:pt x="223451" y="326788"/>
                    <a:pt x="195773" y="334495"/>
                    <a:pt x="165267" y="334869"/>
                  </a:cubicBezTo>
                  <a:cubicBezTo>
                    <a:pt x="134762" y="334495"/>
                    <a:pt x="107084" y="326788"/>
                    <a:pt x="82234" y="311748"/>
                  </a:cubicBezTo>
                  <a:cubicBezTo>
                    <a:pt x="57384" y="296708"/>
                    <a:pt x="37557" y="276575"/>
                    <a:pt x="22754" y="251351"/>
                  </a:cubicBezTo>
                  <a:cubicBezTo>
                    <a:pt x="7951" y="226126"/>
                    <a:pt x="366" y="198051"/>
                    <a:pt x="0" y="167125"/>
                  </a:cubicBezTo>
                  <a:cubicBezTo>
                    <a:pt x="366" y="136207"/>
                    <a:pt x="7951" y="108185"/>
                    <a:pt x="22754" y="83060"/>
                  </a:cubicBezTo>
                  <a:cubicBezTo>
                    <a:pt x="37557" y="57935"/>
                    <a:pt x="57384" y="37901"/>
                    <a:pt x="82234" y="22960"/>
                  </a:cubicBezTo>
                  <a:cubicBezTo>
                    <a:pt x="107084" y="8019"/>
                    <a:pt x="134762" y="366"/>
                    <a:pt x="165267" y="0"/>
                  </a:cubicBezTo>
                  <a:close/>
                  <a:moveTo>
                    <a:pt x="165267" y="35212"/>
                  </a:moveTo>
                  <a:cubicBezTo>
                    <a:pt x="129954" y="36180"/>
                    <a:pt x="100407" y="49108"/>
                    <a:pt x="76628" y="73997"/>
                  </a:cubicBezTo>
                  <a:cubicBezTo>
                    <a:pt x="52849" y="98885"/>
                    <a:pt x="40489" y="129928"/>
                    <a:pt x="39547" y="167125"/>
                  </a:cubicBezTo>
                  <a:cubicBezTo>
                    <a:pt x="40489" y="204348"/>
                    <a:pt x="52849" y="235494"/>
                    <a:pt x="76628" y="260563"/>
                  </a:cubicBezTo>
                  <a:cubicBezTo>
                    <a:pt x="100407" y="285632"/>
                    <a:pt x="129954" y="298663"/>
                    <a:pt x="165267" y="299656"/>
                  </a:cubicBezTo>
                  <a:cubicBezTo>
                    <a:pt x="200581" y="298663"/>
                    <a:pt x="230128" y="285632"/>
                    <a:pt x="253907" y="260563"/>
                  </a:cubicBezTo>
                  <a:cubicBezTo>
                    <a:pt x="277686" y="235494"/>
                    <a:pt x="290047" y="204348"/>
                    <a:pt x="290989" y="167125"/>
                  </a:cubicBezTo>
                  <a:cubicBezTo>
                    <a:pt x="290047" y="129928"/>
                    <a:pt x="277686" y="98885"/>
                    <a:pt x="253907" y="73997"/>
                  </a:cubicBezTo>
                  <a:cubicBezTo>
                    <a:pt x="230128" y="49108"/>
                    <a:pt x="200581" y="36180"/>
                    <a:pt x="165267" y="35212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05D99233-8B51-431E-B7AE-9CFD2F67C3E6}"/>
                </a:ext>
              </a:extLst>
            </p:cNvPr>
            <p:cNvSpPr/>
            <p:nvPr/>
          </p:nvSpPr>
          <p:spPr>
            <a:xfrm>
              <a:off x="8404653" y="2379151"/>
              <a:ext cx="303913" cy="433929"/>
            </a:xfrm>
            <a:custGeom>
              <a:avLst/>
              <a:gdLst/>
              <a:ahLst/>
              <a:cxnLst/>
              <a:rect l="l" t="t" r="r" b="b"/>
              <a:pathLst>
                <a:path w="303913" h="433929">
                  <a:moveTo>
                    <a:pt x="157842" y="0"/>
                  </a:moveTo>
                  <a:cubicBezTo>
                    <a:pt x="199966" y="1002"/>
                    <a:pt x="234608" y="16936"/>
                    <a:pt x="261767" y="47802"/>
                  </a:cubicBezTo>
                  <a:cubicBezTo>
                    <a:pt x="288926" y="78669"/>
                    <a:pt x="302975" y="118456"/>
                    <a:pt x="303913" y="167163"/>
                  </a:cubicBezTo>
                  <a:cubicBezTo>
                    <a:pt x="302975" y="216136"/>
                    <a:pt x="288926" y="256082"/>
                    <a:pt x="261767" y="287003"/>
                  </a:cubicBezTo>
                  <a:cubicBezTo>
                    <a:pt x="234608" y="317924"/>
                    <a:pt x="199966" y="333879"/>
                    <a:pt x="157842" y="334869"/>
                  </a:cubicBezTo>
                  <a:cubicBezTo>
                    <a:pt x="131378" y="334665"/>
                    <a:pt x="107972" y="328432"/>
                    <a:pt x="87624" y="316172"/>
                  </a:cubicBezTo>
                  <a:cubicBezTo>
                    <a:pt x="67276" y="303912"/>
                    <a:pt x="50837" y="286849"/>
                    <a:pt x="38308" y="264985"/>
                  </a:cubicBezTo>
                  <a:lnTo>
                    <a:pt x="38308" y="433929"/>
                  </a:lnTo>
                  <a:lnTo>
                    <a:pt x="0" y="433929"/>
                  </a:lnTo>
                  <a:lnTo>
                    <a:pt x="0" y="7429"/>
                  </a:lnTo>
                  <a:lnTo>
                    <a:pt x="38308" y="7429"/>
                  </a:lnTo>
                  <a:lnTo>
                    <a:pt x="38308" y="69894"/>
                  </a:lnTo>
                  <a:cubicBezTo>
                    <a:pt x="50837" y="48025"/>
                    <a:pt x="67276" y="30959"/>
                    <a:pt x="87624" y="18698"/>
                  </a:cubicBezTo>
                  <a:cubicBezTo>
                    <a:pt x="107972" y="6437"/>
                    <a:pt x="131378" y="204"/>
                    <a:pt x="157842" y="0"/>
                  </a:cubicBezTo>
                  <a:close/>
                  <a:moveTo>
                    <a:pt x="150410" y="35212"/>
                  </a:moveTo>
                  <a:cubicBezTo>
                    <a:pt x="117017" y="35870"/>
                    <a:pt x="90127" y="48179"/>
                    <a:pt x="69740" y="72139"/>
                  </a:cubicBezTo>
                  <a:cubicBezTo>
                    <a:pt x="49354" y="96098"/>
                    <a:pt x="38876" y="127760"/>
                    <a:pt x="38308" y="167125"/>
                  </a:cubicBezTo>
                  <a:cubicBezTo>
                    <a:pt x="38876" y="206515"/>
                    <a:pt x="49354" y="238281"/>
                    <a:pt x="69740" y="262421"/>
                  </a:cubicBezTo>
                  <a:cubicBezTo>
                    <a:pt x="90127" y="286561"/>
                    <a:pt x="117017" y="298972"/>
                    <a:pt x="150410" y="299656"/>
                  </a:cubicBezTo>
                  <a:cubicBezTo>
                    <a:pt x="183312" y="298856"/>
                    <a:pt x="210253" y="286212"/>
                    <a:pt x="231233" y="261724"/>
                  </a:cubicBezTo>
                  <a:cubicBezTo>
                    <a:pt x="252213" y="237235"/>
                    <a:pt x="263051" y="205703"/>
                    <a:pt x="263747" y="167125"/>
                  </a:cubicBezTo>
                  <a:cubicBezTo>
                    <a:pt x="263051" y="128573"/>
                    <a:pt x="252213" y="97143"/>
                    <a:pt x="231233" y="72836"/>
                  </a:cubicBezTo>
                  <a:cubicBezTo>
                    <a:pt x="210253" y="48528"/>
                    <a:pt x="183312" y="35987"/>
                    <a:pt x="150410" y="35212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99B1F118-34ED-4FB8-A180-737A1399C241}"/>
                </a:ext>
              </a:extLst>
            </p:cNvPr>
            <p:cNvSpPr/>
            <p:nvPr/>
          </p:nvSpPr>
          <p:spPr>
            <a:xfrm>
              <a:off x="8764222" y="2379151"/>
              <a:ext cx="330535" cy="334869"/>
            </a:xfrm>
            <a:custGeom>
              <a:avLst/>
              <a:gdLst/>
              <a:ahLst/>
              <a:cxnLst/>
              <a:rect l="l" t="t" r="r" b="b"/>
              <a:pathLst>
                <a:path w="330535" h="334869">
                  <a:moveTo>
                    <a:pt x="165267" y="0"/>
                  </a:moveTo>
                  <a:cubicBezTo>
                    <a:pt x="195773" y="366"/>
                    <a:pt x="223451" y="8019"/>
                    <a:pt x="248301" y="22960"/>
                  </a:cubicBezTo>
                  <a:cubicBezTo>
                    <a:pt x="273151" y="37901"/>
                    <a:pt x="292978" y="57935"/>
                    <a:pt x="307781" y="83060"/>
                  </a:cubicBezTo>
                  <a:cubicBezTo>
                    <a:pt x="322585" y="108185"/>
                    <a:pt x="330169" y="136207"/>
                    <a:pt x="330535" y="167125"/>
                  </a:cubicBezTo>
                  <a:cubicBezTo>
                    <a:pt x="330169" y="198051"/>
                    <a:pt x="322585" y="226126"/>
                    <a:pt x="307781" y="251351"/>
                  </a:cubicBezTo>
                  <a:cubicBezTo>
                    <a:pt x="292978" y="276575"/>
                    <a:pt x="273151" y="296708"/>
                    <a:pt x="248301" y="311748"/>
                  </a:cubicBezTo>
                  <a:cubicBezTo>
                    <a:pt x="223451" y="326788"/>
                    <a:pt x="195773" y="334495"/>
                    <a:pt x="165267" y="334869"/>
                  </a:cubicBezTo>
                  <a:cubicBezTo>
                    <a:pt x="134761" y="334495"/>
                    <a:pt x="107083" y="326788"/>
                    <a:pt x="82234" y="311748"/>
                  </a:cubicBezTo>
                  <a:cubicBezTo>
                    <a:pt x="57383" y="296708"/>
                    <a:pt x="37557" y="276575"/>
                    <a:pt x="22754" y="251351"/>
                  </a:cubicBezTo>
                  <a:cubicBezTo>
                    <a:pt x="7951" y="226126"/>
                    <a:pt x="366" y="198051"/>
                    <a:pt x="0" y="167125"/>
                  </a:cubicBezTo>
                  <a:cubicBezTo>
                    <a:pt x="366" y="136207"/>
                    <a:pt x="7951" y="108185"/>
                    <a:pt x="22754" y="83060"/>
                  </a:cubicBezTo>
                  <a:cubicBezTo>
                    <a:pt x="37557" y="57935"/>
                    <a:pt x="57383" y="37901"/>
                    <a:pt x="82234" y="22960"/>
                  </a:cubicBezTo>
                  <a:cubicBezTo>
                    <a:pt x="107083" y="8019"/>
                    <a:pt x="134761" y="366"/>
                    <a:pt x="165267" y="0"/>
                  </a:cubicBezTo>
                  <a:close/>
                  <a:moveTo>
                    <a:pt x="165267" y="35212"/>
                  </a:moveTo>
                  <a:cubicBezTo>
                    <a:pt x="129954" y="36180"/>
                    <a:pt x="100407" y="49108"/>
                    <a:pt x="76628" y="73997"/>
                  </a:cubicBezTo>
                  <a:cubicBezTo>
                    <a:pt x="52849" y="98885"/>
                    <a:pt x="40489" y="129928"/>
                    <a:pt x="39547" y="167125"/>
                  </a:cubicBezTo>
                  <a:cubicBezTo>
                    <a:pt x="40489" y="204348"/>
                    <a:pt x="52849" y="235494"/>
                    <a:pt x="76628" y="260563"/>
                  </a:cubicBezTo>
                  <a:cubicBezTo>
                    <a:pt x="100407" y="285632"/>
                    <a:pt x="129954" y="298663"/>
                    <a:pt x="165267" y="299656"/>
                  </a:cubicBezTo>
                  <a:cubicBezTo>
                    <a:pt x="200581" y="298663"/>
                    <a:pt x="230128" y="285632"/>
                    <a:pt x="253907" y="260563"/>
                  </a:cubicBezTo>
                  <a:cubicBezTo>
                    <a:pt x="277686" y="235494"/>
                    <a:pt x="290047" y="204348"/>
                    <a:pt x="290989" y="167125"/>
                  </a:cubicBezTo>
                  <a:cubicBezTo>
                    <a:pt x="290047" y="129928"/>
                    <a:pt x="277686" y="98885"/>
                    <a:pt x="253907" y="73997"/>
                  </a:cubicBezTo>
                  <a:cubicBezTo>
                    <a:pt x="230128" y="49108"/>
                    <a:pt x="200581" y="36180"/>
                    <a:pt x="165267" y="35212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99817CB1-DAD9-42CD-BEDA-3ADB122B8709}"/>
                </a:ext>
              </a:extLst>
            </p:cNvPr>
            <p:cNvSpPr/>
            <p:nvPr/>
          </p:nvSpPr>
          <p:spPr>
            <a:xfrm>
              <a:off x="9443830" y="2379151"/>
              <a:ext cx="247572" cy="334869"/>
            </a:xfrm>
            <a:custGeom>
              <a:avLst/>
              <a:gdLst/>
              <a:ahLst/>
              <a:cxnLst/>
              <a:rect l="l" t="t" r="r" b="b"/>
              <a:pathLst>
                <a:path w="247572" h="334869">
                  <a:moveTo>
                    <a:pt x="127498" y="0"/>
                  </a:moveTo>
                  <a:cubicBezTo>
                    <a:pt x="147218" y="103"/>
                    <a:pt x="166934" y="3295"/>
                    <a:pt x="186644" y="9575"/>
                  </a:cubicBezTo>
                  <a:cubicBezTo>
                    <a:pt x="206354" y="15856"/>
                    <a:pt x="224810" y="24609"/>
                    <a:pt x="242012" y="35833"/>
                  </a:cubicBezTo>
                  <a:lnTo>
                    <a:pt x="222857" y="65559"/>
                  </a:lnTo>
                  <a:cubicBezTo>
                    <a:pt x="206974" y="55624"/>
                    <a:pt x="190931" y="48089"/>
                    <a:pt x="174726" y="42954"/>
                  </a:cubicBezTo>
                  <a:cubicBezTo>
                    <a:pt x="158521" y="37819"/>
                    <a:pt x="142778" y="35238"/>
                    <a:pt x="127498" y="35212"/>
                  </a:cubicBezTo>
                  <a:cubicBezTo>
                    <a:pt x="107457" y="35367"/>
                    <a:pt x="90706" y="39857"/>
                    <a:pt x="77246" y="48683"/>
                  </a:cubicBezTo>
                  <a:cubicBezTo>
                    <a:pt x="63786" y="57508"/>
                    <a:pt x="56792" y="69739"/>
                    <a:pt x="56263" y="85377"/>
                  </a:cubicBezTo>
                  <a:cubicBezTo>
                    <a:pt x="56004" y="99440"/>
                    <a:pt x="62715" y="110949"/>
                    <a:pt x="76394" y="119903"/>
                  </a:cubicBezTo>
                  <a:cubicBezTo>
                    <a:pt x="90074" y="128857"/>
                    <a:pt x="112270" y="138198"/>
                    <a:pt x="142984" y="147927"/>
                  </a:cubicBezTo>
                  <a:cubicBezTo>
                    <a:pt x="173358" y="156519"/>
                    <a:pt x="198222" y="167667"/>
                    <a:pt x="217578" y="181369"/>
                  </a:cubicBezTo>
                  <a:cubicBezTo>
                    <a:pt x="236933" y="195071"/>
                    <a:pt x="246931" y="215508"/>
                    <a:pt x="247572" y="242680"/>
                  </a:cubicBezTo>
                  <a:cubicBezTo>
                    <a:pt x="246802" y="270365"/>
                    <a:pt x="235668" y="292542"/>
                    <a:pt x="214171" y="309212"/>
                  </a:cubicBezTo>
                  <a:cubicBezTo>
                    <a:pt x="192674" y="325881"/>
                    <a:pt x="165434" y="334434"/>
                    <a:pt x="132453" y="334869"/>
                  </a:cubicBezTo>
                  <a:cubicBezTo>
                    <a:pt x="109819" y="334780"/>
                    <a:pt x="86962" y="330634"/>
                    <a:pt x="63881" y="322433"/>
                  </a:cubicBezTo>
                  <a:cubicBezTo>
                    <a:pt x="40800" y="314231"/>
                    <a:pt x="19507" y="302510"/>
                    <a:pt x="0" y="287270"/>
                  </a:cubicBezTo>
                  <a:lnTo>
                    <a:pt x="21044" y="258782"/>
                  </a:lnTo>
                  <a:cubicBezTo>
                    <a:pt x="39390" y="272136"/>
                    <a:pt x="58025" y="282277"/>
                    <a:pt x="76948" y="289205"/>
                  </a:cubicBezTo>
                  <a:cubicBezTo>
                    <a:pt x="95870" y="296134"/>
                    <a:pt x="114372" y="299618"/>
                    <a:pt x="132453" y="299656"/>
                  </a:cubicBezTo>
                  <a:cubicBezTo>
                    <a:pt x="155166" y="299372"/>
                    <a:pt x="173543" y="294366"/>
                    <a:pt x="187584" y="284638"/>
                  </a:cubicBezTo>
                  <a:cubicBezTo>
                    <a:pt x="201624" y="274910"/>
                    <a:pt x="208851" y="262162"/>
                    <a:pt x="209264" y="246396"/>
                  </a:cubicBezTo>
                  <a:cubicBezTo>
                    <a:pt x="208942" y="229481"/>
                    <a:pt x="201224" y="216244"/>
                    <a:pt x="186112" y="206683"/>
                  </a:cubicBezTo>
                  <a:cubicBezTo>
                    <a:pt x="171000" y="197123"/>
                    <a:pt x="150430" y="188685"/>
                    <a:pt x="124401" y="181369"/>
                  </a:cubicBezTo>
                  <a:cubicBezTo>
                    <a:pt x="86371" y="170622"/>
                    <a:pt x="59031" y="158210"/>
                    <a:pt x="42382" y="144133"/>
                  </a:cubicBezTo>
                  <a:cubicBezTo>
                    <a:pt x="25733" y="130057"/>
                    <a:pt x="17590" y="111917"/>
                    <a:pt x="17954" y="89712"/>
                  </a:cubicBezTo>
                  <a:cubicBezTo>
                    <a:pt x="18686" y="62673"/>
                    <a:pt x="29278" y="41063"/>
                    <a:pt x="49729" y="24883"/>
                  </a:cubicBezTo>
                  <a:cubicBezTo>
                    <a:pt x="70181" y="8703"/>
                    <a:pt x="96104" y="409"/>
                    <a:pt x="127498" y="0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8965CEB0-3B0E-4C5D-82CE-B28C6B20C2B1}"/>
                </a:ext>
              </a:extLst>
            </p:cNvPr>
            <p:cNvSpPr/>
            <p:nvPr/>
          </p:nvSpPr>
          <p:spPr>
            <a:xfrm>
              <a:off x="10449527" y="2379151"/>
              <a:ext cx="305770" cy="433929"/>
            </a:xfrm>
            <a:custGeom>
              <a:avLst/>
              <a:gdLst/>
              <a:ahLst/>
              <a:cxnLst/>
              <a:rect l="l" t="t" r="r" b="b"/>
              <a:pathLst>
                <a:path w="305770" h="433929">
                  <a:moveTo>
                    <a:pt x="144833" y="0"/>
                  </a:moveTo>
                  <a:cubicBezTo>
                    <a:pt x="172238" y="138"/>
                    <a:pt x="196392" y="6193"/>
                    <a:pt x="217295" y="18166"/>
                  </a:cubicBezTo>
                  <a:cubicBezTo>
                    <a:pt x="238197" y="30138"/>
                    <a:pt x="254920" y="47197"/>
                    <a:pt x="267462" y="69342"/>
                  </a:cubicBezTo>
                  <a:lnTo>
                    <a:pt x="267462" y="7429"/>
                  </a:lnTo>
                  <a:lnTo>
                    <a:pt x="305770" y="7429"/>
                  </a:lnTo>
                  <a:lnTo>
                    <a:pt x="305770" y="293411"/>
                  </a:lnTo>
                  <a:cubicBezTo>
                    <a:pt x="304987" y="335306"/>
                    <a:pt x="290628" y="369024"/>
                    <a:pt x="262693" y="394562"/>
                  </a:cubicBezTo>
                  <a:cubicBezTo>
                    <a:pt x="234759" y="420100"/>
                    <a:pt x="197950" y="433223"/>
                    <a:pt x="152265" y="433929"/>
                  </a:cubicBezTo>
                  <a:cubicBezTo>
                    <a:pt x="126743" y="433698"/>
                    <a:pt x="102539" y="429681"/>
                    <a:pt x="79653" y="421880"/>
                  </a:cubicBezTo>
                  <a:cubicBezTo>
                    <a:pt x="56767" y="414078"/>
                    <a:pt x="37837" y="403878"/>
                    <a:pt x="22863" y="391281"/>
                  </a:cubicBezTo>
                  <a:lnTo>
                    <a:pt x="40165" y="360299"/>
                  </a:lnTo>
                  <a:cubicBezTo>
                    <a:pt x="53533" y="372201"/>
                    <a:pt x="69687" y="381547"/>
                    <a:pt x="88629" y="388337"/>
                  </a:cubicBezTo>
                  <a:cubicBezTo>
                    <a:pt x="107569" y="395128"/>
                    <a:pt x="127130" y="398587"/>
                    <a:pt x="147310" y="398716"/>
                  </a:cubicBezTo>
                  <a:cubicBezTo>
                    <a:pt x="184561" y="398393"/>
                    <a:pt x="213799" y="388971"/>
                    <a:pt x="235023" y="370449"/>
                  </a:cubicBezTo>
                  <a:cubicBezTo>
                    <a:pt x="256249" y="351928"/>
                    <a:pt x="267062" y="326249"/>
                    <a:pt x="267462" y="293411"/>
                  </a:cubicBezTo>
                  <a:lnTo>
                    <a:pt x="267462" y="234017"/>
                  </a:lnTo>
                  <a:cubicBezTo>
                    <a:pt x="254843" y="256428"/>
                    <a:pt x="237965" y="273648"/>
                    <a:pt x="216830" y="285678"/>
                  </a:cubicBezTo>
                  <a:cubicBezTo>
                    <a:pt x="195696" y="297707"/>
                    <a:pt x="171696" y="303786"/>
                    <a:pt x="144833" y="303913"/>
                  </a:cubicBezTo>
                  <a:cubicBezTo>
                    <a:pt x="102761" y="303026"/>
                    <a:pt x="68325" y="288564"/>
                    <a:pt x="41527" y="260527"/>
                  </a:cubicBezTo>
                  <a:cubicBezTo>
                    <a:pt x="14729" y="232489"/>
                    <a:pt x="886" y="196196"/>
                    <a:pt x="0" y="151646"/>
                  </a:cubicBezTo>
                  <a:cubicBezTo>
                    <a:pt x="886" y="107393"/>
                    <a:pt x="14729" y="71281"/>
                    <a:pt x="41527" y="43308"/>
                  </a:cubicBezTo>
                  <a:cubicBezTo>
                    <a:pt x="68325" y="15335"/>
                    <a:pt x="102761" y="899"/>
                    <a:pt x="144833" y="0"/>
                  </a:cubicBezTo>
                  <a:close/>
                  <a:moveTo>
                    <a:pt x="152265" y="35212"/>
                  </a:moveTo>
                  <a:cubicBezTo>
                    <a:pt x="119685" y="35921"/>
                    <a:pt x="93028" y="47045"/>
                    <a:pt x="72294" y="68583"/>
                  </a:cubicBezTo>
                  <a:cubicBezTo>
                    <a:pt x="51559" y="90122"/>
                    <a:pt x="40849" y="117823"/>
                    <a:pt x="40165" y="151685"/>
                  </a:cubicBezTo>
                  <a:cubicBezTo>
                    <a:pt x="40849" y="185815"/>
                    <a:pt x="51559" y="213675"/>
                    <a:pt x="72294" y="235267"/>
                  </a:cubicBezTo>
                  <a:cubicBezTo>
                    <a:pt x="93028" y="256859"/>
                    <a:pt x="119685" y="268003"/>
                    <a:pt x="152265" y="268700"/>
                  </a:cubicBezTo>
                  <a:cubicBezTo>
                    <a:pt x="186057" y="268120"/>
                    <a:pt x="213540" y="257207"/>
                    <a:pt x="234714" y="235959"/>
                  </a:cubicBezTo>
                  <a:cubicBezTo>
                    <a:pt x="255888" y="214711"/>
                    <a:pt x="266804" y="186607"/>
                    <a:pt x="267462" y="151646"/>
                  </a:cubicBezTo>
                  <a:cubicBezTo>
                    <a:pt x="266804" y="116989"/>
                    <a:pt x="255888" y="89068"/>
                    <a:pt x="234714" y="67882"/>
                  </a:cubicBezTo>
                  <a:cubicBezTo>
                    <a:pt x="213540" y="46696"/>
                    <a:pt x="186057" y="35806"/>
                    <a:pt x="152265" y="35212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2C78B23A-632F-4FF2-B1DB-D62779A331A5}"/>
                </a:ext>
              </a:extLst>
            </p:cNvPr>
            <p:cNvSpPr/>
            <p:nvPr/>
          </p:nvSpPr>
          <p:spPr>
            <a:xfrm>
              <a:off x="9327958" y="2386580"/>
              <a:ext cx="38308" cy="320010"/>
            </a:xfrm>
            <a:custGeom>
              <a:avLst/>
              <a:gdLst/>
              <a:ahLst/>
              <a:cxnLst/>
              <a:rect l="l" t="t" r="r" b="b"/>
              <a:pathLst>
                <a:path w="38308" h="320010">
                  <a:moveTo>
                    <a:pt x="0" y="0"/>
                  </a:moveTo>
                  <a:lnTo>
                    <a:pt x="38308" y="0"/>
                  </a:lnTo>
                  <a:lnTo>
                    <a:pt x="38308" y="320010"/>
                  </a:lnTo>
                  <a:lnTo>
                    <a:pt x="0" y="32001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624329D5-649B-4928-85CD-14362B04489C}"/>
                </a:ext>
              </a:extLst>
            </p:cNvPr>
            <p:cNvSpPr/>
            <p:nvPr/>
          </p:nvSpPr>
          <p:spPr>
            <a:xfrm>
              <a:off x="10328084" y="2386580"/>
              <a:ext cx="38309" cy="320010"/>
            </a:xfrm>
            <a:custGeom>
              <a:avLst/>
              <a:gdLst/>
              <a:ahLst/>
              <a:cxnLst/>
              <a:rect l="l" t="t" r="r" b="b"/>
              <a:pathLst>
                <a:path w="38309" h="320010">
                  <a:moveTo>
                    <a:pt x="0" y="0"/>
                  </a:moveTo>
                  <a:lnTo>
                    <a:pt x="38309" y="0"/>
                  </a:lnTo>
                  <a:lnTo>
                    <a:pt x="38309" y="320010"/>
                  </a:lnTo>
                  <a:lnTo>
                    <a:pt x="0" y="32001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164E83D4-30F6-4C59-8FFA-AD2FC2966221}"/>
              </a:ext>
            </a:extLst>
          </p:cNvPr>
          <p:cNvGrpSpPr/>
          <p:nvPr userDrawn="1"/>
        </p:nvGrpSpPr>
        <p:grpSpPr>
          <a:xfrm>
            <a:off x="672458" y="2225997"/>
            <a:ext cx="3021853" cy="546070"/>
            <a:chOff x="2656324" y="2163854"/>
            <a:chExt cx="3021853" cy="546070"/>
          </a:xfrm>
        </p:grpSpPr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F3051B0B-E539-41DA-BF1C-88B850B08AC1}"/>
                </a:ext>
              </a:extLst>
            </p:cNvPr>
            <p:cNvSpPr txBox="1">
              <a:spLocks/>
            </p:cNvSpPr>
            <p:nvPr/>
          </p:nvSpPr>
          <p:spPr>
            <a:xfrm>
              <a:off x="5302274" y="2163854"/>
              <a:ext cx="61293" cy="61294"/>
            </a:xfrm>
            <a:custGeom>
              <a:avLst/>
              <a:gdLst/>
              <a:ahLst/>
              <a:cxnLst/>
              <a:rect l="l" t="t" r="r" b="b"/>
              <a:pathLst>
                <a:path w="61293" h="61294">
                  <a:moveTo>
                    <a:pt x="30956" y="0"/>
                  </a:moveTo>
                  <a:cubicBezTo>
                    <a:pt x="39211" y="0"/>
                    <a:pt x="46331" y="2993"/>
                    <a:pt x="52316" y="8978"/>
                  </a:cubicBezTo>
                  <a:cubicBezTo>
                    <a:pt x="58301" y="14963"/>
                    <a:pt x="61293" y="22083"/>
                    <a:pt x="61293" y="30338"/>
                  </a:cubicBezTo>
                  <a:cubicBezTo>
                    <a:pt x="61293" y="38592"/>
                    <a:pt x="58301" y="45816"/>
                    <a:pt x="52316" y="52007"/>
                  </a:cubicBezTo>
                  <a:cubicBezTo>
                    <a:pt x="46331" y="58198"/>
                    <a:pt x="39211" y="61294"/>
                    <a:pt x="30956" y="61294"/>
                  </a:cubicBezTo>
                  <a:cubicBezTo>
                    <a:pt x="22288" y="61294"/>
                    <a:pt x="14962" y="58198"/>
                    <a:pt x="8977" y="52007"/>
                  </a:cubicBezTo>
                  <a:cubicBezTo>
                    <a:pt x="2992" y="45816"/>
                    <a:pt x="0" y="38592"/>
                    <a:pt x="0" y="30338"/>
                  </a:cubicBezTo>
                  <a:cubicBezTo>
                    <a:pt x="0" y="22083"/>
                    <a:pt x="2992" y="14963"/>
                    <a:pt x="8977" y="8978"/>
                  </a:cubicBezTo>
                  <a:cubicBezTo>
                    <a:pt x="14962" y="2993"/>
                    <a:pt x="22288" y="0"/>
                    <a:pt x="30956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E869A88A-B6ED-41AF-A29B-C30FFF486BB6}"/>
                </a:ext>
              </a:extLst>
            </p:cNvPr>
            <p:cNvSpPr txBox="1">
              <a:spLocks/>
            </p:cNvSpPr>
            <p:nvPr/>
          </p:nvSpPr>
          <p:spPr>
            <a:xfrm>
              <a:off x="5157303" y="2170665"/>
              <a:ext cx="46434" cy="432768"/>
            </a:xfrm>
            <a:custGeom>
              <a:avLst/>
              <a:gdLst/>
              <a:ahLst/>
              <a:cxnLst/>
              <a:rect l="l" t="t" r="r" b="b"/>
              <a:pathLst>
                <a:path w="46434" h="432768">
                  <a:moveTo>
                    <a:pt x="0" y="0"/>
                  </a:moveTo>
                  <a:lnTo>
                    <a:pt x="46434" y="0"/>
                  </a:lnTo>
                  <a:lnTo>
                    <a:pt x="46434" y="432768"/>
                  </a:lnTo>
                  <a:lnTo>
                    <a:pt x="0" y="43276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2801540C-5A6C-4A54-B0C6-6C0846EC4390}"/>
                </a:ext>
              </a:extLst>
            </p:cNvPr>
            <p:cNvSpPr txBox="1">
              <a:spLocks/>
            </p:cNvSpPr>
            <p:nvPr/>
          </p:nvSpPr>
          <p:spPr>
            <a:xfrm>
              <a:off x="2656324" y="2178095"/>
              <a:ext cx="412337" cy="425339"/>
            </a:xfrm>
            <a:custGeom>
              <a:avLst/>
              <a:gdLst/>
              <a:ahLst/>
              <a:cxnLst/>
              <a:rect l="l" t="t" r="r" b="b"/>
              <a:pathLst>
                <a:path w="412337" h="425339">
                  <a:moveTo>
                    <a:pt x="0" y="0"/>
                  </a:moveTo>
                  <a:lnTo>
                    <a:pt x="48291" y="0"/>
                  </a:lnTo>
                  <a:lnTo>
                    <a:pt x="206168" y="296561"/>
                  </a:lnTo>
                  <a:lnTo>
                    <a:pt x="364045" y="0"/>
                  </a:lnTo>
                  <a:lnTo>
                    <a:pt x="412337" y="0"/>
                  </a:lnTo>
                  <a:lnTo>
                    <a:pt x="412337" y="425339"/>
                  </a:lnTo>
                  <a:lnTo>
                    <a:pt x="364045" y="425339"/>
                  </a:lnTo>
                  <a:lnTo>
                    <a:pt x="364045" y="104013"/>
                  </a:lnTo>
                  <a:lnTo>
                    <a:pt x="206168" y="400574"/>
                  </a:lnTo>
                  <a:lnTo>
                    <a:pt x="48291" y="104013"/>
                  </a:lnTo>
                  <a:lnTo>
                    <a:pt x="48291" y="425339"/>
                  </a:lnTo>
                  <a:lnTo>
                    <a:pt x="0" y="4253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B91D5C56-2A21-48F7-9A01-6B21056777FC}"/>
                </a:ext>
              </a:extLst>
            </p:cNvPr>
            <p:cNvSpPr txBox="1">
              <a:spLocks/>
            </p:cNvSpPr>
            <p:nvPr/>
          </p:nvSpPr>
          <p:spPr>
            <a:xfrm>
              <a:off x="3506716" y="2195431"/>
              <a:ext cx="187595" cy="415433"/>
            </a:xfrm>
            <a:custGeom>
              <a:avLst/>
              <a:gdLst/>
              <a:ahLst/>
              <a:cxnLst/>
              <a:rect l="l" t="t" r="r" b="b"/>
              <a:pathLst>
                <a:path w="187595" h="415433">
                  <a:moveTo>
                    <a:pt x="50149" y="0"/>
                  </a:moveTo>
                  <a:lnTo>
                    <a:pt x="96583" y="0"/>
                  </a:lnTo>
                  <a:lnTo>
                    <a:pt x="96583" y="87916"/>
                  </a:lnTo>
                  <a:lnTo>
                    <a:pt x="175212" y="87916"/>
                  </a:lnTo>
                  <a:lnTo>
                    <a:pt x="175212" y="129397"/>
                  </a:lnTo>
                  <a:lnTo>
                    <a:pt x="96583" y="129397"/>
                  </a:lnTo>
                  <a:lnTo>
                    <a:pt x="96583" y="333708"/>
                  </a:lnTo>
                  <a:cubicBezTo>
                    <a:pt x="96583" y="345265"/>
                    <a:pt x="99988" y="354862"/>
                    <a:pt x="106799" y="362497"/>
                  </a:cubicBezTo>
                  <a:cubicBezTo>
                    <a:pt x="113609" y="370133"/>
                    <a:pt x="121761" y="373951"/>
                    <a:pt x="131254" y="373951"/>
                  </a:cubicBezTo>
                  <a:cubicBezTo>
                    <a:pt x="138271" y="373951"/>
                    <a:pt x="144669" y="372713"/>
                    <a:pt x="150447" y="370237"/>
                  </a:cubicBezTo>
                  <a:cubicBezTo>
                    <a:pt x="156226" y="367760"/>
                    <a:pt x="160972" y="364664"/>
                    <a:pt x="164687" y="360950"/>
                  </a:cubicBezTo>
                  <a:lnTo>
                    <a:pt x="187595" y="395002"/>
                  </a:lnTo>
                  <a:cubicBezTo>
                    <a:pt x="170259" y="408622"/>
                    <a:pt x="150447" y="415433"/>
                    <a:pt x="128158" y="415433"/>
                  </a:cubicBezTo>
                  <a:cubicBezTo>
                    <a:pt x="105457" y="415433"/>
                    <a:pt x="86780" y="407797"/>
                    <a:pt x="72128" y="392525"/>
                  </a:cubicBezTo>
                  <a:cubicBezTo>
                    <a:pt x="57475" y="377253"/>
                    <a:pt x="50149" y="357648"/>
                    <a:pt x="50149" y="333708"/>
                  </a:cubicBezTo>
                  <a:lnTo>
                    <a:pt x="50149" y="129397"/>
                  </a:lnTo>
                  <a:lnTo>
                    <a:pt x="0" y="129397"/>
                  </a:lnTo>
                  <a:lnTo>
                    <a:pt x="0" y="87916"/>
                  </a:lnTo>
                  <a:lnTo>
                    <a:pt x="50149" y="87916"/>
                  </a:lnTo>
                  <a:lnTo>
                    <a:pt x="50149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938751F7-5AB7-4F81-9DD2-C1AE3EE50FDD}"/>
                </a:ext>
              </a:extLst>
            </p:cNvPr>
            <p:cNvSpPr txBox="1">
              <a:spLocks/>
            </p:cNvSpPr>
            <p:nvPr/>
          </p:nvSpPr>
          <p:spPr>
            <a:xfrm>
              <a:off x="3159005" y="2275917"/>
              <a:ext cx="309563" cy="334947"/>
            </a:xfrm>
            <a:custGeom>
              <a:avLst/>
              <a:gdLst/>
              <a:ahLst/>
              <a:cxnLst/>
              <a:rect l="l" t="t" r="r" b="b"/>
              <a:pathLst>
                <a:path w="309563" h="334947">
                  <a:moveTo>
                    <a:pt x="157877" y="0"/>
                  </a:moveTo>
                  <a:cubicBezTo>
                    <a:pt x="205757" y="0"/>
                    <a:pt x="243007" y="16716"/>
                    <a:pt x="269629" y="50149"/>
                  </a:cubicBezTo>
                  <a:cubicBezTo>
                    <a:pt x="296252" y="83582"/>
                    <a:pt x="309563" y="128572"/>
                    <a:pt x="309563" y="185118"/>
                  </a:cubicBezTo>
                  <a:lnTo>
                    <a:pt x="47673" y="185118"/>
                  </a:lnTo>
                  <a:cubicBezTo>
                    <a:pt x="50975" y="216900"/>
                    <a:pt x="63048" y="242903"/>
                    <a:pt x="83892" y="263128"/>
                  </a:cubicBezTo>
                  <a:cubicBezTo>
                    <a:pt x="104736" y="283353"/>
                    <a:pt x="130636" y="293465"/>
                    <a:pt x="161592" y="293465"/>
                  </a:cubicBezTo>
                  <a:cubicBezTo>
                    <a:pt x="180579" y="293465"/>
                    <a:pt x="199669" y="289751"/>
                    <a:pt x="218861" y="282321"/>
                  </a:cubicBezTo>
                  <a:cubicBezTo>
                    <a:pt x="238054" y="274892"/>
                    <a:pt x="252604" y="265811"/>
                    <a:pt x="262509" y="255080"/>
                  </a:cubicBezTo>
                  <a:lnTo>
                    <a:pt x="290989" y="285417"/>
                  </a:lnTo>
                  <a:cubicBezTo>
                    <a:pt x="277368" y="300276"/>
                    <a:pt x="258279" y="312245"/>
                    <a:pt x="233720" y="321326"/>
                  </a:cubicBezTo>
                  <a:cubicBezTo>
                    <a:pt x="209162" y="330406"/>
                    <a:pt x="185326" y="334947"/>
                    <a:pt x="162211" y="334947"/>
                  </a:cubicBezTo>
                  <a:cubicBezTo>
                    <a:pt x="133732" y="334947"/>
                    <a:pt x="107109" y="327724"/>
                    <a:pt x="82344" y="313277"/>
                  </a:cubicBezTo>
                  <a:cubicBezTo>
                    <a:pt x="57579" y="298831"/>
                    <a:pt x="37664" y="278709"/>
                    <a:pt x="22599" y="252913"/>
                  </a:cubicBezTo>
                  <a:cubicBezTo>
                    <a:pt x="7533" y="227116"/>
                    <a:pt x="0" y="198326"/>
                    <a:pt x="0" y="166545"/>
                  </a:cubicBezTo>
                  <a:cubicBezTo>
                    <a:pt x="0" y="135588"/>
                    <a:pt x="7120" y="107315"/>
                    <a:pt x="21361" y="81725"/>
                  </a:cubicBezTo>
                  <a:cubicBezTo>
                    <a:pt x="35600" y="56134"/>
                    <a:pt x="54793" y="36116"/>
                    <a:pt x="78939" y="21669"/>
                  </a:cubicBezTo>
                  <a:cubicBezTo>
                    <a:pt x="103085" y="7223"/>
                    <a:pt x="129398" y="0"/>
                    <a:pt x="157877" y="0"/>
                  </a:cubicBezTo>
                  <a:close/>
                  <a:moveTo>
                    <a:pt x="159735" y="41481"/>
                  </a:moveTo>
                  <a:cubicBezTo>
                    <a:pt x="130842" y="41481"/>
                    <a:pt x="106077" y="50871"/>
                    <a:pt x="85440" y="69652"/>
                  </a:cubicBezTo>
                  <a:cubicBezTo>
                    <a:pt x="64802" y="88432"/>
                    <a:pt x="52420" y="113094"/>
                    <a:pt x="48292" y="143637"/>
                  </a:cubicBezTo>
                  <a:lnTo>
                    <a:pt x="263748" y="143637"/>
                  </a:lnTo>
                  <a:cubicBezTo>
                    <a:pt x="260446" y="113094"/>
                    <a:pt x="249921" y="88432"/>
                    <a:pt x="232172" y="69652"/>
                  </a:cubicBezTo>
                  <a:cubicBezTo>
                    <a:pt x="214424" y="50871"/>
                    <a:pt x="190278" y="41481"/>
                    <a:pt x="159735" y="4148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2977B035-ADE6-4A4C-86F9-E9355E9D8122}"/>
                </a:ext>
              </a:extLst>
            </p:cNvPr>
            <p:cNvSpPr txBox="1">
              <a:spLocks/>
            </p:cNvSpPr>
            <p:nvPr/>
          </p:nvSpPr>
          <p:spPr>
            <a:xfrm>
              <a:off x="3757128" y="2275917"/>
              <a:ext cx="170259" cy="327517"/>
            </a:xfrm>
            <a:custGeom>
              <a:avLst/>
              <a:gdLst/>
              <a:ahLst/>
              <a:cxnLst/>
              <a:rect l="l" t="t" r="r" b="b"/>
              <a:pathLst>
                <a:path w="170259" h="327517">
                  <a:moveTo>
                    <a:pt x="170259" y="0"/>
                  </a:moveTo>
                  <a:lnTo>
                    <a:pt x="170259" y="41481"/>
                  </a:lnTo>
                  <a:cubicBezTo>
                    <a:pt x="146320" y="41481"/>
                    <a:pt x="124960" y="46022"/>
                    <a:pt x="106180" y="55102"/>
                  </a:cubicBezTo>
                  <a:cubicBezTo>
                    <a:pt x="87400" y="64183"/>
                    <a:pt x="72747" y="76875"/>
                    <a:pt x="62222" y="93178"/>
                  </a:cubicBezTo>
                  <a:cubicBezTo>
                    <a:pt x="51697" y="109482"/>
                    <a:pt x="46434" y="127953"/>
                    <a:pt x="46434" y="148590"/>
                  </a:cubicBezTo>
                  <a:lnTo>
                    <a:pt x="46434" y="327517"/>
                  </a:lnTo>
                  <a:lnTo>
                    <a:pt x="0" y="327517"/>
                  </a:lnTo>
                  <a:lnTo>
                    <a:pt x="0" y="7430"/>
                  </a:lnTo>
                  <a:lnTo>
                    <a:pt x="46434" y="7430"/>
                  </a:lnTo>
                  <a:lnTo>
                    <a:pt x="46434" y="69961"/>
                  </a:lnTo>
                  <a:cubicBezTo>
                    <a:pt x="55927" y="48498"/>
                    <a:pt x="71612" y="31472"/>
                    <a:pt x="93488" y="18883"/>
                  </a:cubicBezTo>
                  <a:cubicBezTo>
                    <a:pt x="115364" y="6294"/>
                    <a:pt x="140954" y="0"/>
                    <a:pt x="17025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B5491C69-6B3D-4C4E-A712-AAE6470473FA}"/>
                </a:ext>
              </a:extLst>
            </p:cNvPr>
            <p:cNvSpPr txBox="1">
              <a:spLocks/>
            </p:cNvSpPr>
            <p:nvPr/>
          </p:nvSpPr>
          <p:spPr>
            <a:xfrm>
              <a:off x="3976917" y="2275917"/>
              <a:ext cx="329994" cy="334947"/>
            </a:xfrm>
            <a:custGeom>
              <a:avLst/>
              <a:gdLst/>
              <a:ahLst/>
              <a:cxnLst/>
              <a:rect l="l" t="t" r="r" b="b"/>
              <a:pathLst>
                <a:path w="329994" h="334947">
                  <a:moveTo>
                    <a:pt x="165307" y="0"/>
                  </a:moveTo>
                  <a:cubicBezTo>
                    <a:pt x="195025" y="0"/>
                    <a:pt x="222473" y="7533"/>
                    <a:pt x="247650" y="22598"/>
                  </a:cubicBezTo>
                  <a:cubicBezTo>
                    <a:pt x="272828" y="37663"/>
                    <a:pt x="292847" y="57991"/>
                    <a:pt x="307706" y="83582"/>
                  </a:cubicBezTo>
                  <a:cubicBezTo>
                    <a:pt x="322565" y="109172"/>
                    <a:pt x="329994" y="137033"/>
                    <a:pt x="329994" y="167164"/>
                  </a:cubicBezTo>
                  <a:cubicBezTo>
                    <a:pt x="329994" y="197295"/>
                    <a:pt x="322565" y="225258"/>
                    <a:pt x="307706" y="251055"/>
                  </a:cubicBezTo>
                  <a:cubicBezTo>
                    <a:pt x="292847" y="276852"/>
                    <a:pt x="272828" y="297283"/>
                    <a:pt x="247650" y="312349"/>
                  </a:cubicBezTo>
                  <a:cubicBezTo>
                    <a:pt x="222473" y="327414"/>
                    <a:pt x="195025" y="334947"/>
                    <a:pt x="165307" y="334947"/>
                  </a:cubicBezTo>
                  <a:cubicBezTo>
                    <a:pt x="135589" y="334947"/>
                    <a:pt x="108038" y="327414"/>
                    <a:pt x="82654" y="312349"/>
                  </a:cubicBezTo>
                  <a:cubicBezTo>
                    <a:pt x="57270" y="297283"/>
                    <a:pt x="37148" y="276852"/>
                    <a:pt x="22289" y="251055"/>
                  </a:cubicBezTo>
                  <a:cubicBezTo>
                    <a:pt x="7430" y="225258"/>
                    <a:pt x="0" y="197295"/>
                    <a:pt x="0" y="167164"/>
                  </a:cubicBezTo>
                  <a:cubicBezTo>
                    <a:pt x="0" y="137033"/>
                    <a:pt x="7430" y="109172"/>
                    <a:pt x="22289" y="83582"/>
                  </a:cubicBezTo>
                  <a:cubicBezTo>
                    <a:pt x="37148" y="57991"/>
                    <a:pt x="57270" y="37663"/>
                    <a:pt x="82654" y="22598"/>
                  </a:cubicBezTo>
                  <a:cubicBezTo>
                    <a:pt x="108038" y="7533"/>
                    <a:pt x="135589" y="0"/>
                    <a:pt x="165307" y="0"/>
                  </a:cubicBezTo>
                  <a:close/>
                  <a:moveTo>
                    <a:pt x="165307" y="41481"/>
                  </a:moveTo>
                  <a:cubicBezTo>
                    <a:pt x="144257" y="41481"/>
                    <a:pt x="124754" y="47157"/>
                    <a:pt x="106799" y="58507"/>
                  </a:cubicBezTo>
                  <a:cubicBezTo>
                    <a:pt x="88845" y="69858"/>
                    <a:pt x="74605" y="85130"/>
                    <a:pt x="64080" y="104323"/>
                  </a:cubicBezTo>
                  <a:cubicBezTo>
                    <a:pt x="53555" y="123515"/>
                    <a:pt x="48292" y="144463"/>
                    <a:pt x="48292" y="167164"/>
                  </a:cubicBezTo>
                  <a:cubicBezTo>
                    <a:pt x="48292" y="189865"/>
                    <a:pt x="53555" y="210915"/>
                    <a:pt x="64080" y="230314"/>
                  </a:cubicBezTo>
                  <a:cubicBezTo>
                    <a:pt x="74605" y="249714"/>
                    <a:pt x="88845" y="265089"/>
                    <a:pt x="106799" y="276439"/>
                  </a:cubicBezTo>
                  <a:cubicBezTo>
                    <a:pt x="124754" y="287790"/>
                    <a:pt x="144257" y="293465"/>
                    <a:pt x="165307" y="293465"/>
                  </a:cubicBezTo>
                  <a:cubicBezTo>
                    <a:pt x="186357" y="293465"/>
                    <a:pt x="205756" y="287790"/>
                    <a:pt x="223505" y="276439"/>
                  </a:cubicBezTo>
                  <a:cubicBezTo>
                    <a:pt x="241253" y="265089"/>
                    <a:pt x="255390" y="249714"/>
                    <a:pt x="265915" y="230314"/>
                  </a:cubicBezTo>
                  <a:cubicBezTo>
                    <a:pt x="276440" y="210915"/>
                    <a:pt x="281702" y="189865"/>
                    <a:pt x="281702" y="167164"/>
                  </a:cubicBezTo>
                  <a:cubicBezTo>
                    <a:pt x="281702" y="144463"/>
                    <a:pt x="276440" y="123515"/>
                    <a:pt x="265915" y="104323"/>
                  </a:cubicBezTo>
                  <a:cubicBezTo>
                    <a:pt x="255390" y="85130"/>
                    <a:pt x="241253" y="69858"/>
                    <a:pt x="223505" y="58507"/>
                  </a:cubicBezTo>
                  <a:cubicBezTo>
                    <a:pt x="205756" y="47157"/>
                    <a:pt x="186357" y="41481"/>
                    <a:pt x="165307" y="4148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ED07AB51-93C8-42B3-BDB7-A2C7B1E8F5E3}"/>
                </a:ext>
              </a:extLst>
            </p:cNvPr>
            <p:cNvSpPr txBox="1">
              <a:spLocks/>
            </p:cNvSpPr>
            <p:nvPr/>
          </p:nvSpPr>
          <p:spPr>
            <a:xfrm>
              <a:off x="4385778" y="2275917"/>
              <a:ext cx="310182" cy="434007"/>
            </a:xfrm>
            <a:custGeom>
              <a:avLst/>
              <a:gdLst/>
              <a:ahLst/>
              <a:cxnLst/>
              <a:rect l="l" t="t" r="r" b="b"/>
              <a:pathLst>
                <a:path w="310182" h="434007">
                  <a:moveTo>
                    <a:pt x="162830" y="0"/>
                  </a:moveTo>
                  <a:cubicBezTo>
                    <a:pt x="190484" y="0"/>
                    <a:pt x="215559" y="7120"/>
                    <a:pt x="238053" y="21360"/>
                  </a:cubicBezTo>
                  <a:cubicBezTo>
                    <a:pt x="260548" y="35600"/>
                    <a:pt x="278193" y="55412"/>
                    <a:pt x="290989" y="80796"/>
                  </a:cubicBezTo>
                  <a:cubicBezTo>
                    <a:pt x="303784" y="106180"/>
                    <a:pt x="310182" y="134969"/>
                    <a:pt x="310182" y="167164"/>
                  </a:cubicBezTo>
                  <a:cubicBezTo>
                    <a:pt x="310182" y="199358"/>
                    <a:pt x="303784" y="228251"/>
                    <a:pt x="290989" y="253841"/>
                  </a:cubicBezTo>
                  <a:cubicBezTo>
                    <a:pt x="278193" y="279432"/>
                    <a:pt x="260548" y="299347"/>
                    <a:pt x="238053" y="313587"/>
                  </a:cubicBezTo>
                  <a:cubicBezTo>
                    <a:pt x="215559" y="327827"/>
                    <a:pt x="190484" y="334947"/>
                    <a:pt x="162830" y="334947"/>
                  </a:cubicBezTo>
                  <a:cubicBezTo>
                    <a:pt x="137652" y="334947"/>
                    <a:pt x="115054" y="329065"/>
                    <a:pt x="95035" y="317302"/>
                  </a:cubicBezTo>
                  <a:cubicBezTo>
                    <a:pt x="75018" y="305538"/>
                    <a:pt x="58817" y="288925"/>
                    <a:pt x="46434" y="267462"/>
                  </a:cubicBezTo>
                  <a:lnTo>
                    <a:pt x="46434" y="434007"/>
                  </a:lnTo>
                  <a:lnTo>
                    <a:pt x="0" y="434007"/>
                  </a:lnTo>
                  <a:lnTo>
                    <a:pt x="0" y="7430"/>
                  </a:lnTo>
                  <a:lnTo>
                    <a:pt x="46434" y="7430"/>
                  </a:lnTo>
                  <a:lnTo>
                    <a:pt x="46434" y="67485"/>
                  </a:lnTo>
                  <a:cubicBezTo>
                    <a:pt x="58817" y="46022"/>
                    <a:pt x="75018" y="29408"/>
                    <a:pt x="95035" y="17645"/>
                  </a:cubicBezTo>
                  <a:cubicBezTo>
                    <a:pt x="115054" y="5882"/>
                    <a:pt x="137652" y="0"/>
                    <a:pt x="162830" y="0"/>
                  </a:cubicBezTo>
                  <a:close/>
                  <a:moveTo>
                    <a:pt x="154162" y="41481"/>
                  </a:moveTo>
                  <a:cubicBezTo>
                    <a:pt x="133525" y="41481"/>
                    <a:pt x="114951" y="46847"/>
                    <a:pt x="98441" y="57579"/>
                  </a:cubicBezTo>
                  <a:cubicBezTo>
                    <a:pt x="81931" y="68310"/>
                    <a:pt x="69136" y="83169"/>
                    <a:pt x="60055" y="102156"/>
                  </a:cubicBezTo>
                  <a:cubicBezTo>
                    <a:pt x="50974" y="121142"/>
                    <a:pt x="46434" y="142812"/>
                    <a:pt x="46434" y="167164"/>
                  </a:cubicBezTo>
                  <a:cubicBezTo>
                    <a:pt x="46434" y="191516"/>
                    <a:pt x="50974" y="213289"/>
                    <a:pt x="60055" y="232481"/>
                  </a:cubicBezTo>
                  <a:cubicBezTo>
                    <a:pt x="69136" y="251674"/>
                    <a:pt x="81931" y="266637"/>
                    <a:pt x="98441" y="277368"/>
                  </a:cubicBezTo>
                  <a:cubicBezTo>
                    <a:pt x="114951" y="288100"/>
                    <a:pt x="133525" y="293465"/>
                    <a:pt x="154162" y="293465"/>
                  </a:cubicBezTo>
                  <a:cubicBezTo>
                    <a:pt x="174799" y="293465"/>
                    <a:pt x="193270" y="288100"/>
                    <a:pt x="209574" y="277368"/>
                  </a:cubicBezTo>
                  <a:cubicBezTo>
                    <a:pt x="225877" y="266637"/>
                    <a:pt x="238569" y="251674"/>
                    <a:pt x="247650" y="232481"/>
                  </a:cubicBezTo>
                  <a:cubicBezTo>
                    <a:pt x="256731" y="213289"/>
                    <a:pt x="261271" y="191516"/>
                    <a:pt x="261271" y="167164"/>
                  </a:cubicBezTo>
                  <a:cubicBezTo>
                    <a:pt x="261271" y="142812"/>
                    <a:pt x="256731" y="121142"/>
                    <a:pt x="247650" y="102156"/>
                  </a:cubicBezTo>
                  <a:cubicBezTo>
                    <a:pt x="238569" y="83169"/>
                    <a:pt x="225877" y="68310"/>
                    <a:pt x="209574" y="57579"/>
                  </a:cubicBezTo>
                  <a:cubicBezTo>
                    <a:pt x="193270" y="46847"/>
                    <a:pt x="174799" y="41481"/>
                    <a:pt x="154162" y="4148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047A2D20-1802-410D-9F0E-D83DA9A2E647}"/>
                </a:ext>
              </a:extLst>
            </p:cNvPr>
            <p:cNvSpPr txBox="1">
              <a:spLocks/>
            </p:cNvSpPr>
            <p:nvPr/>
          </p:nvSpPr>
          <p:spPr>
            <a:xfrm>
              <a:off x="4748442" y="2275917"/>
              <a:ext cx="329994" cy="334947"/>
            </a:xfrm>
            <a:custGeom>
              <a:avLst/>
              <a:gdLst/>
              <a:ahLst/>
              <a:cxnLst/>
              <a:rect l="l" t="t" r="r" b="b"/>
              <a:pathLst>
                <a:path w="329994" h="334947">
                  <a:moveTo>
                    <a:pt x="165307" y="0"/>
                  </a:moveTo>
                  <a:cubicBezTo>
                    <a:pt x="195025" y="0"/>
                    <a:pt x="222472" y="7533"/>
                    <a:pt x="247651" y="22598"/>
                  </a:cubicBezTo>
                  <a:cubicBezTo>
                    <a:pt x="272828" y="37663"/>
                    <a:pt x="292847" y="57991"/>
                    <a:pt x="307706" y="83582"/>
                  </a:cubicBezTo>
                  <a:cubicBezTo>
                    <a:pt x="322565" y="109172"/>
                    <a:pt x="329994" y="137033"/>
                    <a:pt x="329994" y="167164"/>
                  </a:cubicBezTo>
                  <a:cubicBezTo>
                    <a:pt x="329994" y="197295"/>
                    <a:pt x="322565" y="225258"/>
                    <a:pt x="307706" y="251055"/>
                  </a:cubicBezTo>
                  <a:cubicBezTo>
                    <a:pt x="292847" y="276852"/>
                    <a:pt x="272828" y="297283"/>
                    <a:pt x="247651" y="312349"/>
                  </a:cubicBezTo>
                  <a:cubicBezTo>
                    <a:pt x="222472" y="327414"/>
                    <a:pt x="195025" y="334947"/>
                    <a:pt x="165307" y="334947"/>
                  </a:cubicBezTo>
                  <a:cubicBezTo>
                    <a:pt x="135589" y="334947"/>
                    <a:pt x="108038" y="327414"/>
                    <a:pt x="82654" y="312349"/>
                  </a:cubicBezTo>
                  <a:cubicBezTo>
                    <a:pt x="57269" y="297283"/>
                    <a:pt x="37148" y="276852"/>
                    <a:pt x="22289" y="251055"/>
                  </a:cubicBezTo>
                  <a:cubicBezTo>
                    <a:pt x="7430" y="225258"/>
                    <a:pt x="0" y="197295"/>
                    <a:pt x="0" y="167164"/>
                  </a:cubicBezTo>
                  <a:cubicBezTo>
                    <a:pt x="0" y="137033"/>
                    <a:pt x="7430" y="109172"/>
                    <a:pt x="22289" y="83582"/>
                  </a:cubicBezTo>
                  <a:cubicBezTo>
                    <a:pt x="37148" y="57991"/>
                    <a:pt x="57269" y="37663"/>
                    <a:pt x="82654" y="22598"/>
                  </a:cubicBezTo>
                  <a:cubicBezTo>
                    <a:pt x="108038" y="7533"/>
                    <a:pt x="135589" y="0"/>
                    <a:pt x="165307" y="0"/>
                  </a:cubicBezTo>
                  <a:close/>
                  <a:moveTo>
                    <a:pt x="165307" y="41481"/>
                  </a:moveTo>
                  <a:cubicBezTo>
                    <a:pt x="144257" y="41481"/>
                    <a:pt x="124754" y="47157"/>
                    <a:pt x="106800" y="58507"/>
                  </a:cubicBezTo>
                  <a:cubicBezTo>
                    <a:pt x="88845" y="69858"/>
                    <a:pt x="74605" y="85130"/>
                    <a:pt x="64080" y="104323"/>
                  </a:cubicBezTo>
                  <a:cubicBezTo>
                    <a:pt x="53555" y="123515"/>
                    <a:pt x="48292" y="144463"/>
                    <a:pt x="48292" y="167164"/>
                  </a:cubicBezTo>
                  <a:cubicBezTo>
                    <a:pt x="48292" y="189865"/>
                    <a:pt x="53555" y="210915"/>
                    <a:pt x="64080" y="230314"/>
                  </a:cubicBezTo>
                  <a:cubicBezTo>
                    <a:pt x="74605" y="249714"/>
                    <a:pt x="88845" y="265089"/>
                    <a:pt x="106800" y="276439"/>
                  </a:cubicBezTo>
                  <a:cubicBezTo>
                    <a:pt x="124754" y="287790"/>
                    <a:pt x="144257" y="293465"/>
                    <a:pt x="165307" y="293465"/>
                  </a:cubicBezTo>
                  <a:cubicBezTo>
                    <a:pt x="186357" y="293465"/>
                    <a:pt x="205756" y="287790"/>
                    <a:pt x="223505" y="276439"/>
                  </a:cubicBezTo>
                  <a:cubicBezTo>
                    <a:pt x="241253" y="265089"/>
                    <a:pt x="255390" y="249714"/>
                    <a:pt x="265915" y="230314"/>
                  </a:cubicBezTo>
                  <a:cubicBezTo>
                    <a:pt x="276440" y="210915"/>
                    <a:pt x="281702" y="189865"/>
                    <a:pt x="281702" y="167164"/>
                  </a:cubicBezTo>
                  <a:cubicBezTo>
                    <a:pt x="281702" y="144463"/>
                    <a:pt x="276440" y="123515"/>
                    <a:pt x="265915" y="104323"/>
                  </a:cubicBezTo>
                  <a:cubicBezTo>
                    <a:pt x="255390" y="85130"/>
                    <a:pt x="241253" y="69858"/>
                    <a:pt x="223505" y="58507"/>
                  </a:cubicBezTo>
                  <a:cubicBezTo>
                    <a:pt x="205756" y="47157"/>
                    <a:pt x="186357" y="41481"/>
                    <a:pt x="165307" y="4148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C0F960C2-D281-4BC9-BACA-B4004C0AB29F}"/>
                </a:ext>
              </a:extLst>
            </p:cNvPr>
            <p:cNvSpPr txBox="1">
              <a:spLocks/>
            </p:cNvSpPr>
            <p:nvPr/>
          </p:nvSpPr>
          <p:spPr>
            <a:xfrm>
              <a:off x="5428671" y="2275917"/>
              <a:ext cx="249506" cy="334947"/>
            </a:xfrm>
            <a:custGeom>
              <a:avLst/>
              <a:gdLst/>
              <a:ahLst/>
              <a:cxnLst/>
              <a:rect l="l" t="t" r="r" b="b"/>
              <a:pathLst>
                <a:path w="249506" h="334947">
                  <a:moveTo>
                    <a:pt x="127539" y="0"/>
                  </a:moveTo>
                  <a:cubicBezTo>
                    <a:pt x="146938" y="0"/>
                    <a:pt x="166544" y="3199"/>
                    <a:pt x="186356" y="9596"/>
                  </a:cubicBezTo>
                  <a:cubicBezTo>
                    <a:pt x="206168" y="15994"/>
                    <a:pt x="224742" y="24765"/>
                    <a:pt x="242077" y="35909"/>
                  </a:cubicBezTo>
                  <a:lnTo>
                    <a:pt x="219789" y="71819"/>
                  </a:lnTo>
                  <a:cubicBezTo>
                    <a:pt x="188007" y="51594"/>
                    <a:pt x="157257" y="41481"/>
                    <a:pt x="127539" y="41481"/>
                  </a:cubicBezTo>
                  <a:cubicBezTo>
                    <a:pt x="108553" y="41481"/>
                    <a:pt x="92868" y="45609"/>
                    <a:pt x="80486" y="53864"/>
                  </a:cubicBezTo>
                  <a:cubicBezTo>
                    <a:pt x="68103" y="62119"/>
                    <a:pt x="61912" y="73676"/>
                    <a:pt x="61912" y="88535"/>
                  </a:cubicBezTo>
                  <a:cubicBezTo>
                    <a:pt x="61912" y="97615"/>
                    <a:pt x="64594" y="105045"/>
                    <a:pt x="69960" y="110823"/>
                  </a:cubicBezTo>
                  <a:cubicBezTo>
                    <a:pt x="75326" y="116602"/>
                    <a:pt x="83375" y="121761"/>
                    <a:pt x="94107" y="126302"/>
                  </a:cubicBezTo>
                  <a:cubicBezTo>
                    <a:pt x="104838" y="130842"/>
                    <a:pt x="121761" y="136827"/>
                    <a:pt x="144875" y="144256"/>
                  </a:cubicBezTo>
                  <a:cubicBezTo>
                    <a:pt x="167576" y="151273"/>
                    <a:pt x="185943" y="158083"/>
                    <a:pt x="199977" y="164687"/>
                  </a:cubicBezTo>
                  <a:cubicBezTo>
                    <a:pt x="214010" y="171291"/>
                    <a:pt x="225774" y="180475"/>
                    <a:pt x="235267" y="192238"/>
                  </a:cubicBezTo>
                  <a:cubicBezTo>
                    <a:pt x="244760" y="204002"/>
                    <a:pt x="249506" y="219377"/>
                    <a:pt x="249506" y="238363"/>
                  </a:cubicBezTo>
                  <a:cubicBezTo>
                    <a:pt x="249506" y="267256"/>
                    <a:pt x="238466" y="290576"/>
                    <a:pt x="216383" y="308324"/>
                  </a:cubicBezTo>
                  <a:cubicBezTo>
                    <a:pt x="194301" y="326073"/>
                    <a:pt x="166338" y="334947"/>
                    <a:pt x="132492" y="334947"/>
                  </a:cubicBezTo>
                  <a:cubicBezTo>
                    <a:pt x="109791" y="334947"/>
                    <a:pt x="86780" y="330819"/>
                    <a:pt x="63460" y="322564"/>
                  </a:cubicBezTo>
                  <a:cubicBezTo>
                    <a:pt x="40139" y="314309"/>
                    <a:pt x="18986" y="302546"/>
                    <a:pt x="0" y="287274"/>
                  </a:cubicBezTo>
                  <a:lnTo>
                    <a:pt x="24145" y="253222"/>
                  </a:lnTo>
                  <a:cubicBezTo>
                    <a:pt x="60880" y="280051"/>
                    <a:pt x="96995" y="293465"/>
                    <a:pt x="132492" y="293465"/>
                  </a:cubicBezTo>
                  <a:cubicBezTo>
                    <a:pt x="153543" y="293465"/>
                    <a:pt x="170568" y="288925"/>
                    <a:pt x="183570" y="279845"/>
                  </a:cubicBezTo>
                  <a:cubicBezTo>
                    <a:pt x="196572" y="270764"/>
                    <a:pt x="203073" y="258588"/>
                    <a:pt x="203073" y="243316"/>
                  </a:cubicBezTo>
                  <a:cubicBezTo>
                    <a:pt x="203073" y="232585"/>
                    <a:pt x="199564" y="223607"/>
                    <a:pt x="192547" y="216384"/>
                  </a:cubicBezTo>
                  <a:cubicBezTo>
                    <a:pt x="185531" y="209161"/>
                    <a:pt x="176760" y="203486"/>
                    <a:pt x="166235" y="199358"/>
                  </a:cubicBezTo>
                  <a:cubicBezTo>
                    <a:pt x="155709" y="195231"/>
                    <a:pt x="141160" y="190484"/>
                    <a:pt x="122586" y="185118"/>
                  </a:cubicBezTo>
                  <a:cubicBezTo>
                    <a:pt x="83375" y="173974"/>
                    <a:pt x="55721" y="161695"/>
                    <a:pt x="39624" y="148280"/>
                  </a:cubicBezTo>
                  <a:cubicBezTo>
                    <a:pt x="23526" y="134866"/>
                    <a:pt x="15478" y="116808"/>
                    <a:pt x="15478" y="94107"/>
                  </a:cubicBezTo>
                  <a:cubicBezTo>
                    <a:pt x="15478" y="65627"/>
                    <a:pt x="26003" y="42823"/>
                    <a:pt x="47053" y="25694"/>
                  </a:cubicBezTo>
                  <a:cubicBezTo>
                    <a:pt x="68103" y="8565"/>
                    <a:pt x="94932" y="0"/>
                    <a:pt x="12753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EAD02CAE-EA62-46F9-AF21-428066FCE7DE}"/>
                </a:ext>
              </a:extLst>
            </p:cNvPr>
            <p:cNvSpPr txBox="1">
              <a:spLocks/>
            </p:cNvSpPr>
            <p:nvPr/>
          </p:nvSpPr>
          <p:spPr>
            <a:xfrm>
              <a:off x="5309703" y="2283347"/>
              <a:ext cx="46435" cy="320087"/>
            </a:xfrm>
            <a:custGeom>
              <a:avLst/>
              <a:gdLst/>
              <a:ahLst/>
              <a:cxnLst/>
              <a:rect l="l" t="t" r="r" b="b"/>
              <a:pathLst>
                <a:path w="46435" h="320087">
                  <a:moveTo>
                    <a:pt x="0" y="0"/>
                  </a:moveTo>
                  <a:lnTo>
                    <a:pt x="46435" y="0"/>
                  </a:lnTo>
                  <a:lnTo>
                    <a:pt x="46435" y="320087"/>
                  </a:lnTo>
                  <a:lnTo>
                    <a:pt x="0" y="32008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826701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0" name="Group 59">
            <a:extLst>
              <a:ext uri="{FF2B5EF4-FFF2-40B4-BE49-F238E27FC236}">
                <a16:creationId xmlns:a16="http://schemas.microsoft.com/office/drawing/2014/main" id="{8442F8FF-5DB1-44B3-AF2C-1A531EA36FEA}"/>
              </a:ext>
            </a:extLst>
          </p:cNvPr>
          <p:cNvGrpSpPr/>
          <p:nvPr userDrawn="1"/>
        </p:nvGrpSpPr>
        <p:grpSpPr bwMode="gray">
          <a:xfrm>
            <a:off x="0" y="0"/>
            <a:ext cx="12188826" cy="6858004"/>
            <a:chOff x="0" y="-4"/>
            <a:chExt cx="12188826" cy="6858004"/>
          </a:xfrm>
        </p:grpSpPr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E2F285D2-B641-461F-87F0-20A9C65B2EF7}"/>
                </a:ext>
              </a:extLst>
            </p:cNvPr>
            <p:cNvGrpSpPr/>
            <p:nvPr/>
          </p:nvGrpSpPr>
          <p:grpSpPr bwMode="gray">
            <a:xfrm>
              <a:off x="609441" y="1600198"/>
              <a:ext cx="10055941" cy="4580469"/>
              <a:chOff x="609441" y="1600198"/>
              <a:chExt cx="10055941" cy="4580469"/>
            </a:xfrm>
          </p:grpSpPr>
          <p:sp>
            <p:nvSpPr>
              <p:cNvPr id="110" name="Rectangle 109">
                <a:extLst>
                  <a:ext uri="{FF2B5EF4-FFF2-40B4-BE49-F238E27FC236}">
                    <a16:creationId xmlns:a16="http://schemas.microsoft.com/office/drawing/2014/main" id="{115EE1AC-AAA1-4CAF-886B-474B1A0C95C4}"/>
                  </a:ext>
                </a:extLst>
              </p:cNvPr>
              <p:cNvSpPr/>
              <p:nvPr/>
            </p:nvSpPr>
            <p:spPr bwMode="gray">
              <a:xfrm>
                <a:off x="609441" y="1600199"/>
                <a:ext cx="914203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11" name="Rectangle 110">
                <a:extLst>
                  <a:ext uri="{FF2B5EF4-FFF2-40B4-BE49-F238E27FC236}">
                    <a16:creationId xmlns:a16="http://schemas.microsoft.com/office/drawing/2014/main" id="{7037B7F2-249C-4DB7-A4FF-AD7E08892A0F}"/>
                  </a:ext>
                </a:extLst>
              </p:cNvPr>
              <p:cNvSpPr/>
              <p:nvPr/>
            </p:nvSpPr>
            <p:spPr bwMode="gray">
              <a:xfrm>
                <a:off x="2436448" y="1600198"/>
                <a:ext cx="915282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12" name="Rectangle 111">
                <a:extLst>
                  <a:ext uri="{FF2B5EF4-FFF2-40B4-BE49-F238E27FC236}">
                    <a16:creationId xmlns:a16="http://schemas.microsoft.com/office/drawing/2014/main" id="{6B02FE08-2379-4E6C-AE27-D7D2ECAB18B8}"/>
                  </a:ext>
                </a:extLst>
              </p:cNvPr>
              <p:cNvSpPr/>
              <p:nvPr/>
            </p:nvSpPr>
            <p:spPr bwMode="gray">
              <a:xfrm>
                <a:off x="4263453" y="1600198"/>
                <a:ext cx="920909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13" name="Rectangle 112">
                <a:extLst>
                  <a:ext uri="{FF2B5EF4-FFF2-40B4-BE49-F238E27FC236}">
                    <a16:creationId xmlns:a16="http://schemas.microsoft.com/office/drawing/2014/main" id="{D7C17E9A-3B70-4668-8EAE-9C7D73BACCA1}"/>
                  </a:ext>
                </a:extLst>
              </p:cNvPr>
              <p:cNvSpPr/>
              <p:nvPr/>
            </p:nvSpPr>
            <p:spPr bwMode="gray">
              <a:xfrm>
                <a:off x="6090459" y="1600198"/>
                <a:ext cx="920909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14" name="Rectangle 113">
                <a:extLst>
                  <a:ext uri="{FF2B5EF4-FFF2-40B4-BE49-F238E27FC236}">
                    <a16:creationId xmlns:a16="http://schemas.microsoft.com/office/drawing/2014/main" id="{E02751E5-34AD-4357-BC67-2269F668FD57}"/>
                  </a:ext>
                </a:extLst>
              </p:cNvPr>
              <p:cNvSpPr/>
              <p:nvPr/>
            </p:nvSpPr>
            <p:spPr bwMode="gray">
              <a:xfrm>
                <a:off x="7921943" y="1600198"/>
                <a:ext cx="916431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15" name="Rectangle 114">
                <a:extLst>
                  <a:ext uri="{FF2B5EF4-FFF2-40B4-BE49-F238E27FC236}">
                    <a16:creationId xmlns:a16="http://schemas.microsoft.com/office/drawing/2014/main" id="{452A85DA-B39F-40AB-B423-9F7CCB3D0D63}"/>
                  </a:ext>
                </a:extLst>
              </p:cNvPr>
              <p:cNvSpPr/>
              <p:nvPr/>
            </p:nvSpPr>
            <p:spPr bwMode="gray">
              <a:xfrm>
                <a:off x="9750028" y="1600198"/>
                <a:ext cx="915354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C5C1459D-4F6E-4671-8566-3143311EA541}"/>
                </a:ext>
              </a:extLst>
            </p:cNvPr>
            <p:cNvGrpSpPr/>
            <p:nvPr userDrawn="1"/>
          </p:nvGrpSpPr>
          <p:grpSpPr bwMode="gray">
            <a:xfrm>
              <a:off x="0" y="-4"/>
              <a:ext cx="12188826" cy="6858004"/>
              <a:chOff x="0" y="-4"/>
              <a:chExt cx="12188826" cy="6858004"/>
            </a:xfrm>
          </p:grpSpPr>
          <p:grpSp>
            <p:nvGrpSpPr>
              <p:cNvPr id="63" name="Group 62">
                <a:extLst>
                  <a:ext uri="{FF2B5EF4-FFF2-40B4-BE49-F238E27FC236}">
                    <a16:creationId xmlns:a16="http://schemas.microsoft.com/office/drawing/2014/main" id="{015AFD00-19E3-4F92-9570-1F3E8AEC3EC4}"/>
                  </a:ext>
                </a:extLst>
              </p:cNvPr>
              <p:cNvGrpSpPr/>
              <p:nvPr>
                <p:custDataLst>
                  <p:tags r:id="rId1"/>
                </p:custDataLst>
              </p:nvPr>
            </p:nvGrpSpPr>
            <p:grpSpPr bwMode="gray">
              <a:xfrm>
                <a:off x="0" y="-4"/>
                <a:ext cx="12188826" cy="6858004"/>
                <a:chOff x="0" y="1"/>
                <a:chExt cx="12188826" cy="6858004"/>
              </a:xfrm>
            </p:grpSpPr>
            <p:grpSp>
              <p:nvGrpSpPr>
                <p:cNvPr id="65" name="Group 64">
                  <a:extLst>
                    <a:ext uri="{FF2B5EF4-FFF2-40B4-BE49-F238E27FC236}">
                      <a16:creationId xmlns:a16="http://schemas.microsoft.com/office/drawing/2014/main" id="{56B51E9A-9BC0-4A23-95C7-9E14C94FDF8A}"/>
                    </a:ext>
                  </a:extLst>
                </p:cNvPr>
                <p:cNvGrpSpPr/>
                <p:nvPr/>
              </p:nvGrpSpPr>
              <p:grpSpPr bwMode="gray">
                <a:xfrm>
                  <a:off x="609601" y="2684"/>
                  <a:ext cx="10962504" cy="6855315"/>
                  <a:chOff x="0" y="0"/>
                  <a:chExt cx="10962504" cy="6858000"/>
                </a:xfrm>
              </p:grpSpPr>
              <p:cxnSp>
                <p:nvCxnSpPr>
                  <p:cNvPr id="85" name="Straight Connector 84">
                    <a:extLst>
                      <a:ext uri="{FF2B5EF4-FFF2-40B4-BE49-F238E27FC236}">
                        <a16:creationId xmlns:a16="http://schemas.microsoft.com/office/drawing/2014/main" id="{5B6B4CFD-041A-4081-89A4-C2B194E6465E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0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6" name="Straight Connector 85">
                    <a:extLst>
                      <a:ext uri="{FF2B5EF4-FFF2-40B4-BE49-F238E27FC236}">
                        <a16:creationId xmlns:a16="http://schemas.microsoft.com/office/drawing/2014/main" id="{C63B978F-4215-434A-A0BE-E77776CE37B1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914043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7" name="Straight Connector 86">
                    <a:extLst>
                      <a:ext uri="{FF2B5EF4-FFF2-40B4-BE49-F238E27FC236}">
                        <a16:creationId xmlns:a16="http://schemas.microsoft.com/office/drawing/2014/main" id="{09EEB78C-3DA9-4AD7-BFB1-207EDE403F9D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1371064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8" name="Straight Connector 87">
                    <a:extLst>
                      <a:ext uri="{FF2B5EF4-FFF2-40B4-BE49-F238E27FC236}">
                        <a16:creationId xmlns:a16="http://schemas.microsoft.com/office/drawing/2014/main" id="{F062D7CE-4A4A-4C41-833F-B30B3E74AEAC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1828085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9" name="Straight Connector 88">
                    <a:extLst>
                      <a:ext uri="{FF2B5EF4-FFF2-40B4-BE49-F238E27FC236}">
                        <a16:creationId xmlns:a16="http://schemas.microsoft.com/office/drawing/2014/main" id="{19C628EF-969E-4429-A992-9AD0AFECF81E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2285107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0" name="Straight Connector 89">
                    <a:extLst>
                      <a:ext uri="{FF2B5EF4-FFF2-40B4-BE49-F238E27FC236}">
                        <a16:creationId xmlns:a16="http://schemas.microsoft.com/office/drawing/2014/main" id="{8C7BD383-0D5C-4E3A-99F7-4DC5A51DF948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2742128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1" name="Straight Connector 90">
                    <a:extLst>
                      <a:ext uri="{FF2B5EF4-FFF2-40B4-BE49-F238E27FC236}">
                        <a16:creationId xmlns:a16="http://schemas.microsoft.com/office/drawing/2014/main" id="{FAA2EE63-4F24-4A26-9268-D15D92D5B068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3199149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2" name="Straight Connector 91">
                    <a:extLst>
                      <a:ext uri="{FF2B5EF4-FFF2-40B4-BE49-F238E27FC236}">
                        <a16:creationId xmlns:a16="http://schemas.microsoft.com/office/drawing/2014/main" id="{F64BB08D-864A-44D4-88F6-679DBAE518B7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3656171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3" name="Straight Connector 92">
                    <a:extLst>
                      <a:ext uri="{FF2B5EF4-FFF2-40B4-BE49-F238E27FC236}">
                        <a16:creationId xmlns:a16="http://schemas.microsoft.com/office/drawing/2014/main" id="{9FA3F8A1-60DA-47E1-92DD-967475B2DF58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4113192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4" name="Straight Connector 93">
                    <a:extLst>
                      <a:ext uri="{FF2B5EF4-FFF2-40B4-BE49-F238E27FC236}">
                        <a16:creationId xmlns:a16="http://schemas.microsoft.com/office/drawing/2014/main" id="{4DECF40D-CC60-45F8-B236-F9FAC1F3E8CF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4570213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5" name="Straight Connector 94">
                    <a:extLst>
                      <a:ext uri="{FF2B5EF4-FFF2-40B4-BE49-F238E27FC236}">
                        <a16:creationId xmlns:a16="http://schemas.microsoft.com/office/drawing/2014/main" id="{623BAEC6-A3C2-4892-9093-BD8EA8A7E0F6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5027235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6" name="Straight Connector 95">
                    <a:extLst>
                      <a:ext uri="{FF2B5EF4-FFF2-40B4-BE49-F238E27FC236}">
                        <a16:creationId xmlns:a16="http://schemas.microsoft.com/office/drawing/2014/main" id="{D4E16FB9-EDCA-4CA6-9212-0AEBFCE175D7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5484256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7" name="Straight Connector 96">
                    <a:extLst>
                      <a:ext uri="{FF2B5EF4-FFF2-40B4-BE49-F238E27FC236}">
                        <a16:creationId xmlns:a16="http://schemas.microsoft.com/office/drawing/2014/main" id="{F3AE637F-804F-4244-9AA9-FF4A629A143C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5941277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8" name="Straight Connector 97">
                    <a:extLst>
                      <a:ext uri="{FF2B5EF4-FFF2-40B4-BE49-F238E27FC236}">
                        <a16:creationId xmlns:a16="http://schemas.microsoft.com/office/drawing/2014/main" id="{5EFB8414-3949-428A-B700-7C38A44425B2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6398299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9" name="Straight Connector 98">
                    <a:extLst>
                      <a:ext uri="{FF2B5EF4-FFF2-40B4-BE49-F238E27FC236}">
                        <a16:creationId xmlns:a16="http://schemas.microsoft.com/office/drawing/2014/main" id="{BA61D1AB-B7D2-4169-B38F-56371D50E1DA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6855320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0" name="Straight Connector 99">
                    <a:extLst>
                      <a:ext uri="{FF2B5EF4-FFF2-40B4-BE49-F238E27FC236}">
                        <a16:creationId xmlns:a16="http://schemas.microsoft.com/office/drawing/2014/main" id="{D00C4593-A442-4B6C-8E9D-80BFEB1746D6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7312342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1" name="Straight Connector 100">
                    <a:extLst>
                      <a:ext uri="{FF2B5EF4-FFF2-40B4-BE49-F238E27FC236}">
                        <a16:creationId xmlns:a16="http://schemas.microsoft.com/office/drawing/2014/main" id="{95B5E413-FAFF-430F-B105-4D122D50AEE1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7769363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2" name="Straight Connector 101">
                    <a:extLst>
                      <a:ext uri="{FF2B5EF4-FFF2-40B4-BE49-F238E27FC236}">
                        <a16:creationId xmlns:a16="http://schemas.microsoft.com/office/drawing/2014/main" id="{2B845328-662D-4D12-A209-6A0B1E78DF14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8226384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3" name="Straight Connector 102">
                    <a:extLst>
                      <a:ext uri="{FF2B5EF4-FFF2-40B4-BE49-F238E27FC236}">
                        <a16:creationId xmlns:a16="http://schemas.microsoft.com/office/drawing/2014/main" id="{2AC19B5D-D919-4A48-953C-03994329E19B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9140427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4" name="Straight Connector 103">
                    <a:extLst>
                      <a:ext uri="{FF2B5EF4-FFF2-40B4-BE49-F238E27FC236}">
                        <a16:creationId xmlns:a16="http://schemas.microsoft.com/office/drawing/2014/main" id="{AC81C8DC-CB2F-445A-8F7B-5A864393B553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8683406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5" name="Straight Connector 104">
                    <a:extLst>
                      <a:ext uri="{FF2B5EF4-FFF2-40B4-BE49-F238E27FC236}">
                        <a16:creationId xmlns:a16="http://schemas.microsoft.com/office/drawing/2014/main" id="{F3CD9F68-6C35-4B43-B8E1-1ABF75D8D588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9597448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6" name="Straight Connector 105">
                    <a:extLst>
                      <a:ext uri="{FF2B5EF4-FFF2-40B4-BE49-F238E27FC236}">
                        <a16:creationId xmlns:a16="http://schemas.microsoft.com/office/drawing/2014/main" id="{BBBCE95B-721C-44A5-8B94-8F0E42FF53FE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10054470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7" name="Straight Connector 106">
                    <a:extLst>
                      <a:ext uri="{FF2B5EF4-FFF2-40B4-BE49-F238E27FC236}">
                        <a16:creationId xmlns:a16="http://schemas.microsoft.com/office/drawing/2014/main" id="{3B934F61-1ED7-4209-A1E3-04C68085B10E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10511491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8" name="Straight Connector 107">
                    <a:extLst>
                      <a:ext uri="{FF2B5EF4-FFF2-40B4-BE49-F238E27FC236}">
                        <a16:creationId xmlns:a16="http://schemas.microsoft.com/office/drawing/2014/main" id="{8F636E46-095E-439D-B78B-EBC72DB23290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457021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9" name="Straight Connector 108">
                    <a:extLst>
                      <a:ext uri="{FF2B5EF4-FFF2-40B4-BE49-F238E27FC236}">
                        <a16:creationId xmlns:a16="http://schemas.microsoft.com/office/drawing/2014/main" id="{61497272-E949-488B-B9F6-FD10BA6526BF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10962504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66" name="Group 65">
                  <a:extLst>
                    <a:ext uri="{FF2B5EF4-FFF2-40B4-BE49-F238E27FC236}">
                      <a16:creationId xmlns:a16="http://schemas.microsoft.com/office/drawing/2014/main" id="{B645DFBA-090A-4E89-BFE2-570C1D04D7A5}"/>
                    </a:ext>
                  </a:extLst>
                </p:cNvPr>
                <p:cNvGrpSpPr/>
                <p:nvPr/>
              </p:nvGrpSpPr>
              <p:grpSpPr bwMode="gray">
                <a:xfrm>
                  <a:off x="0" y="1"/>
                  <a:ext cx="12188826" cy="6858004"/>
                  <a:chOff x="0" y="1"/>
                  <a:chExt cx="12188826" cy="6858004"/>
                </a:xfrm>
              </p:grpSpPr>
              <p:cxnSp>
                <p:nvCxnSpPr>
                  <p:cNvPr id="67" name="Straight Connector 66">
                    <a:extLst>
                      <a:ext uri="{FF2B5EF4-FFF2-40B4-BE49-F238E27FC236}">
                        <a16:creationId xmlns:a16="http://schemas.microsoft.com/office/drawing/2014/main" id="{E34689D4-9BAE-40BF-B953-E1A0CA4F5C15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6094412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8" name="Straight Connector 67">
                    <a:extLst>
                      <a:ext uri="{FF2B5EF4-FFF2-40B4-BE49-F238E27FC236}">
                        <a16:creationId xmlns:a16="http://schemas.microsoft.com/office/drawing/2014/main" id="{674A3364-6F4C-4749-A110-B336801330E0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5637211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9" name="Straight Connector 68">
                    <a:extLst>
                      <a:ext uri="{FF2B5EF4-FFF2-40B4-BE49-F238E27FC236}">
                        <a16:creationId xmlns:a16="http://schemas.microsoft.com/office/drawing/2014/main" id="{690EC6B6-039D-4549-B1B1-8FF8A3FC2F66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5180011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0" name="Straight Connector 69">
                    <a:extLst>
                      <a:ext uri="{FF2B5EF4-FFF2-40B4-BE49-F238E27FC236}">
                        <a16:creationId xmlns:a16="http://schemas.microsoft.com/office/drawing/2014/main" id="{155F4FAC-9412-45E9-99EC-FDC351D60453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31202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1" name="Straight Connector 70">
                    <a:extLst>
                      <a:ext uri="{FF2B5EF4-FFF2-40B4-BE49-F238E27FC236}">
                        <a16:creationId xmlns:a16="http://schemas.microsoft.com/office/drawing/2014/main" id="{5A0C0A33-67B3-48C9-9B83-C39DFDEF5E0A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26630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2" name="Straight Connector 71">
                    <a:extLst>
                      <a:ext uri="{FF2B5EF4-FFF2-40B4-BE49-F238E27FC236}">
                        <a16:creationId xmlns:a16="http://schemas.microsoft.com/office/drawing/2014/main" id="{A87FF284-D960-4A05-8053-9886608C6599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22058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3" name="Straight Connector 72">
                    <a:extLst>
                      <a:ext uri="{FF2B5EF4-FFF2-40B4-BE49-F238E27FC236}">
                        <a16:creationId xmlns:a16="http://schemas.microsoft.com/office/drawing/2014/main" id="{6BA61019-342C-4EDD-97C6-EDA59774644E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17486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4" name="Straight Connector 73">
                    <a:extLst>
                      <a:ext uri="{FF2B5EF4-FFF2-40B4-BE49-F238E27FC236}">
                        <a16:creationId xmlns:a16="http://schemas.microsoft.com/office/drawing/2014/main" id="{234785CB-17D0-49DD-8DC9-3C93626DC776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1291437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5" name="Straight Connector 74">
                    <a:extLst>
                      <a:ext uri="{FF2B5EF4-FFF2-40B4-BE49-F238E27FC236}">
                        <a16:creationId xmlns:a16="http://schemas.microsoft.com/office/drawing/2014/main" id="{425DB222-E3A0-48A3-BBD5-FD2616577D2D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834237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6" name="Straight Connector 75">
                    <a:extLst>
                      <a:ext uri="{FF2B5EF4-FFF2-40B4-BE49-F238E27FC236}">
                        <a16:creationId xmlns:a16="http://schemas.microsoft.com/office/drawing/2014/main" id="{C433E4E5-A945-4652-B574-37C6580344B0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gray">
                  <a:xfrm flipH="1">
                    <a:off x="1" y="5717376"/>
                    <a:ext cx="12188825" cy="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7" name="Straight Connector 76">
                    <a:extLst>
                      <a:ext uri="{FF2B5EF4-FFF2-40B4-BE49-F238E27FC236}">
                        <a16:creationId xmlns:a16="http://schemas.microsoft.com/office/drawing/2014/main" id="{352A597B-2B35-4BD4-B07E-D8CEF25A597D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763592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8" name="Straight Connector 77">
                    <a:extLst>
                      <a:ext uri="{FF2B5EF4-FFF2-40B4-BE49-F238E27FC236}">
                        <a16:creationId xmlns:a16="http://schemas.microsoft.com/office/drawing/2014/main" id="{9351C336-9D65-42C9-A33F-6971E6322E46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5637212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9" name="Straight Connector 78">
                    <a:extLst>
                      <a:ext uri="{FF2B5EF4-FFF2-40B4-BE49-F238E27FC236}">
                        <a16:creationId xmlns:a16="http://schemas.microsoft.com/office/drawing/2014/main" id="{FCAD9518-36D4-43F7-839D-D8FE389DF1F1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4951411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0" name="Straight Connector 79">
                    <a:extLst>
                      <a:ext uri="{FF2B5EF4-FFF2-40B4-BE49-F238E27FC236}">
                        <a16:creationId xmlns:a16="http://schemas.microsoft.com/office/drawing/2014/main" id="{55575B3F-2A8B-4175-B6A5-D60652B87ED0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86257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1" name="Straight Connector 80">
                    <a:extLst>
                      <a:ext uri="{FF2B5EF4-FFF2-40B4-BE49-F238E27FC236}">
                        <a16:creationId xmlns:a16="http://schemas.microsoft.com/office/drawing/2014/main" id="{1CCC90FC-8476-4A2A-8DF1-ECAB053A24FD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30638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2" name="Straight Connector 81">
                    <a:extLst>
                      <a:ext uri="{FF2B5EF4-FFF2-40B4-BE49-F238E27FC236}">
                        <a16:creationId xmlns:a16="http://schemas.microsoft.com/office/drawing/2014/main" id="{DFB03C8E-4661-465A-B25F-147D497525A0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40346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3" name="Straight Connector 82">
                    <a:extLst>
                      <a:ext uri="{FF2B5EF4-FFF2-40B4-BE49-F238E27FC236}">
                        <a16:creationId xmlns:a16="http://schemas.microsoft.com/office/drawing/2014/main" id="{88C8E030-5491-4C40-9E10-B197BD5CD587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35774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4" name="Straight Connector 83">
                    <a:extLst>
                      <a:ext uri="{FF2B5EF4-FFF2-40B4-BE49-F238E27FC236}">
                        <a16:creationId xmlns:a16="http://schemas.microsoft.com/office/drawing/2014/main" id="{E0EBA261-0409-41DC-98E2-4BF8173333E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gray">
                  <a:xfrm rot="5400000">
                    <a:off x="6094413" y="-4494211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B119DAC7-36FB-491E-A6EB-B78E57CAECBF}"/>
                  </a:ext>
                </a:extLst>
              </p:cNvPr>
              <p:cNvSpPr txBox="1"/>
              <p:nvPr userDrawn="1"/>
            </p:nvSpPr>
            <p:spPr bwMode="gray">
              <a:xfrm>
                <a:off x="592866" y="5723466"/>
                <a:ext cx="7329077" cy="47413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>
                <a:no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sz="700"/>
                  <a:t>Footnote: Lorem ipsum dolor sit amet, consectetur adipiscing elit. Maecenas dui magna, sagittis at feugiat eget, viverra eu libero. Vestibulum a justo mi. Etiam blandit tempus odio. Fusce orci lectus, tincidunt eget hendrerit quis, blandit non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70440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0B535B2D-9361-4E88-8BBD-C6E1EB066B37}"/>
              </a:ext>
            </a:extLst>
          </p:cNvPr>
          <p:cNvSpPr/>
          <p:nvPr userDrawn="1"/>
        </p:nvSpPr>
        <p:spPr>
          <a:xfrm>
            <a:off x="0" y="0"/>
            <a:ext cx="12188825" cy="6858000"/>
          </a:xfrm>
          <a:prstGeom prst="rect">
            <a:avLst/>
          </a:prstGeom>
          <a:solidFill>
            <a:srgbClr val="F8981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>
              <a:solidFill>
                <a:schemeClr val="accent2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5AED08D-D489-4C23-BFE9-9C4A6A94C4DA}"/>
              </a:ext>
            </a:extLst>
          </p:cNvPr>
          <p:cNvSpPr txBox="1"/>
          <p:nvPr userDrawn="1"/>
        </p:nvSpPr>
        <p:spPr>
          <a:xfrm>
            <a:off x="606392" y="721895"/>
            <a:ext cx="10876547" cy="48800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5400" spc="300">
                <a:solidFill>
                  <a:schemeClr val="bg1"/>
                </a:solidFill>
              </a:rPr>
              <a:t>DO NOT USE </a:t>
            </a:r>
          </a:p>
          <a:p>
            <a:pPr algn="ctr">
              <a:lnSpc>
                <a:spcPct val="90000"/>
              </a:lnSpc>
            </a:pPr>
            <a:endParaRPr lang="en-US" sz="5400" spc="300">
              <a:solidFill>
                <a:schemeClr val="bg1"/>
              </a:solidFill>
            </a:endParaRPr>
          </a:p>
          <a:p>
            <a:pPr algn="ctr">
              <a:lnSpc>
                <a:spcPct val="90000"/>
              </a:lnSpc>
            </a:pPr>
            <a:r>
              <a:rPr lang="en-US" sz="5400" spc="300">
                <a:solidFill>
                  <a:schemeClr val="bg1"/>
                </a:solidFill>
              </a:rPr>
              <a:t>ALL LAYOUTS PAST THIS ARE NOT PART OF THIS TEMPLATE</a:t>
            </a:r>
          </a:p>
        </p:txBody>
      </p:sp>
    </p:spTree>
    <p:extLst>
      <p:ext uri="{BB962C8B-B14F-4D97-AF65-F5344CB8AC3E}">
        <p14:creationId xmlns:p14="http://schemas.microsoft.com/office/powerpoint/2010/main" val="3801848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B7217DE-1965-47B9-B9BF-BF37EF137B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B7217DE-1965-47B9-B9BF-BF37EF137B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8950B906-C5A3-4658-B24C-B2B533310D26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latin typeface="+mj-lt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E333358-58C9-4949-98D5-BC5D4A3168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none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56557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30CD733-93DE-4793-929B-26E6DBA7592D}"/>
              </a:ext>
            </a:extLst>
          </p:cNvPr>
          <p:cNvSpPr/>
          <p:nvPr userDrawn="1"/>
        </p:nvSpPr>
        <p:spPr bwMode="ltGray">
          <a:xfrm>
            <a:off x="1" y="1600202"/>
            <a:ext cx="7923212" cy="4570946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>
              <a:solidFill>
                <a:schemeClr val="accent2"/>
              </a:solidFill>
            </a:endParaRP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D8C8783A-257B-4A50-95A0-6C7B8E51707B}"/>
              </a:ext>
            </a:extLst>
          </p:cNvPr>
          <p:cNvCxnSpPr>
            <a:cxnSpLocks/>
          </p:cNvCxnSpPr>
          <p:nvPr userDrawn="1"/>
        </p:nvCxnSpPr>
        <p:spPr>
          <a:xfrm>
            <a:off x="8380413" y="1608668"/>
            <a:ext cx="3808412" cy="0"/>
          </a:xfrm>
          <a:prstGeom prst="line">
            <a:avLst/>
          </a:prstGeom>
          <a:ln w="25400">
            <a:solidFill>
              <a:schemeClr val="accent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3A17EA1E-A574-444B-9004-45836D98DAD0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dirty="0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157BCD9-063B-4ED4-B68C-092EC2C342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wrap="none"/>
          <a:lstStyle>
            <a:lvl1pPr>
              <a:defRPr/>
            </a:lvl1pPr>
          </a:lstStyle>
          <a:p>
            <a:r>
              <a:rPr lang="en-US" dirty="0"/>
              <a:t>Click to Add One Line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F7496CC-9DD2-4299-850C-005958FB65C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0413" y="1600200"/>
            <a:ext cx="3808412" cy="4572000"/>
          </a:xfrm>
        </p:spPr>
        <p:txBody>
          <a:bodyPr tIns="457200" rIns="594360" bIns="457200"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400"/>
            </a:lvl7pPr>
            <a:lvl8pPr>
              <a:defRPr sz="1200"/>
            </a:lvl8pPr>
            <a:lvl9pPr>
              <a:defRPr sz="18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 Seventh level</a:t>
            </a:r>
          </a:p>
          <a:p>
            <a:pPr lvl="7"/>
            <a:r>
              <a:rPr lang="en-US" dirty="0"/>
              <a:t> 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A0D276D7-17CD-46AB-99B2-97FD34FEEFFA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73108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– Plu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1F68A354-4C62-4F2A-9CB5-8CD9B953F237}"/>
              </a:ext>
            </a:extLst>
          </p:cNvPr>
          <p:cNvSpPr/>
          <p:nvPr userDrawn="1"/>
        </p:nvSpPr>
        <p:spPr>
          <a:xfrm rot="2700000">
            <a:off x="1530975" y="-2580079"/>
            <a:ext cx="3206987" cy="9623529"/>
          </a:xfrm>
          <a:custGeom>
            <a:avLst/>
            <a:gdLst>
              <a:gd name="connsiteX0" fmla="*/ 3621 w 3204432"/>
              <a:gd name="connsiteY0" fmla="*/ 3200811 h 9623529"/>
              <a:gd name="connsiteX1" fmla="*/ 3204432 w 3204432"/>
              <a:gd name="connsiteY1" fmla="*/ 0 h 9623529"/>
              <a:gd name="connsiteX2" fmla="*/ 3204432 w 3204432"/>
              <a:gd name="connsiteY2" fmla="*/ 8389488 h 9623529"/>
              <a:gd name="connsiteX3" fmla="*/ 3197162 w 3204432"/>
              <a:gd name="connsiteY3" fmla="*/ 8389488 h 9623529"/>
              <a:gd name="connsiteX4" fmla="*/ 3201565 w 3204432"/>
              <a:gd name="connsiteY4" fmla="*/ 8393890 h 9623529"/>
              <a:gd name="connsiteX5" fmla="*/ 1971926 w 3204432"/>
              <a:gd name="connsiteY5" fmla="*/ 9623529 h 9623529"/>
              <a:gd name="connsiteX6" fmla="*/ 0 w 3204432"/>
              <a:gd name="connsiteY6" fmla="*/ 7651603 h 9623529"/>
              <a:gd name="connsiteX7" fmla="*/ 3621 w 3204432"/>
              <a:gd name="connsiteY7" fmla="*/ 7647982 h 9623529"/>
              <a:gd name="connsiteX8" fmla="*/ 3621 w 3204432"/>
              <a:gd name="connsiteY8" fmla="*/ 3200811 h 9623529"/>
              <a:gd name="connsiteX0" fmla="*/ 3621 w 3206055"/>
              <a:gd name="connsiteY0" fmla="*/ 3200811 h 9623529"/>
              <a:gd name="connsiteX1" fmla="*/ 3204432 w 3206055"/>
              <a:gd name="connsiteY1" fmla="*/ 0 h 9623529"/>
              <a:gd name="connsiteX2" fmla="*/ 3204432 w 3206055"/>
              <a:gd name="connsiteY2" fmla="*/ 8389488 h 9623529"/>
              <a:gd name="connsiteX3" fmla="*/ 3197162 w 3206055"/>
              <a:gd name="connsiteY3" fmla="*/ 8389488 h 9623529"/>
              <a:gd name="connsiteX4" fmla="*/ 3206055 w 3206055"/>
              <a:gd name="connsiteY4" fmla="*/ 9386208 h 9623529"/>
              <a:gd name="connsiteX5" fmla="*/ 1971926 w 3206055"/>
              <a:gd name="connsiteY5" fmla="*/ 9623529 h 9623529"/>
              <a:gd name="connsiteX6" fmla="*/ 0 w 3206055"/>
              <a:gd name="connsiteY6" fmla="*/ 7651603 h 9623529"/>
              <a:gd name="connsiteX7" fmla="*/ 3621 w 3206055"/>
              <a:gd name="connsiteY7" fmla="*/ 7647982 h 9623529"/>
              <a:gd name="connsiteX8" fmla="*/ 3621 w 3206055"/>
              <a:gd name="connsiteY8" fmla="*/ 3200811 h 9623529"/>
              <a:gd name="connsiteX0" fmla="*/ 3621 w 3206987"/>
              <a:gd name="connsiteY0" fmla="*/ 3200811 h 9623529"/>
              <a:gd name="connsiteX1" fmla="*/ 3204432 w 3206987"/>
              <a:gd name="connsiteY1" fmla="*/ 0 h 9623529"/>
              <a:gd name="connsiteX2" fmla="*/ 3204432 w 3206987"/>
              <a:gd name="connsiteY2" fmla="*/ 8389488 h 9623529"/>
              <a:gd name="connsiteX3" fmla="*/ 3206142 w 3206987"/>
              <a:gd name="connsiteY3" fmla="*/ 8407448 h 9623529"/>
              <a:gd name="connsiteX4" fmla="*/ 3206055 w 3206987"/>
              <a:gd name="connsiteY4" fmla="*/ 9386208 h 9623529"/>
              <a:gd name="connsiteX5" fmla="*/ 1971926 w 3206987"/>
              <a:gd name="connsiteY5" fmla="*/ 9623529 h 9623529"/>
              <a:gd name="connsiteX6" fmla="*/ 0 w 3206987"/>
              <a:gd name="connsiteY6" fmla="*/ 7651603 h 9623529"/>
              <a:gd name="connsiteX7" fmla="*/ 3621 w 3206987"/>
              <a:gd name="connsiteY7" fmla="*/ 7647982 h 9623529"/>
              <a:gd name="connsiteX8" fmla="*/ 3621 w 3206987"/>
              <a:gd name="connsiteY8" fmla="*/ 3200811 h 96235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206987" h="9623529">
                <a:moveTo>
                  <a:pt x="3621" y="3200811"/>
                </a:moveTo>
                <a:lnTo>
                  <a:pt x="3204432" y="0"/>
                </a:lnTo>
                <a:lnTo>
                  <a:pt x="3204432" y="8389488"/>
                </a:lnTo>
                <a:lnTo>
                  <a:pt x="3206142" y="8407448"/>
                </a:lnTo>
                <a:cubicBezTo>
                  <a:pt x="3209106" y="8739688"/>
                  <a:pt x="3203091" y="9053968"/>
                  <a:pt x="3206055" y="9386208"/>
                </a:cubicBezTo>
                <a:lnTo>
                  <a:pt x="1971926" y="9623529"/>
                </a:lnTo>
                <a:lnTo>
                  <a:pt x="0" y="7651603"/>
                </a:lnTo>
                <a:lnTo>
                  <a:pt x="3621" y="7647982"/>
                </a:lnTo>
                <a:lnTo>
                  <a:pt x="3621" y="3200811"/>
                </a:lnTo>
                <a:close/>
              </a:path>
            </a:pathLst>
          </a:custGeom>
          <a:gradFill>
            <a:gsLst>
              <a:gs pos="24000">
                <a:srgbClr val="7F35AB"/>
              </a:gs>
              <a:gs pos="87000">
                <a:srgbClr val="264088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C835AD62-92DE-42CB-A787-503E2A1C1C7A}"/>
              </a:ext>
            </a:extLst>
          </p:cNvPr>
          <p:cNvSpPr/>
          <p:nvPr userDrawn="1"/>
        </p:nvSpPr>
        <p:spPr>
          <a:xfrm rot="2700000">
            <a:off x="1632126" y="1230939"/>
            <a:ext cx="3535790" cy="7514148"/>
          </a:xfrm>
          <a:custGeom>
            <a:avLst/>
            <a:gdLst>
              <a:gd name="connsiteX0" fmla="*/ 0 w 3535790"/>
              <a:gd name="connsiteY0" fmla="*/ 0 h 7514148"/>
              <a:gd name="connsiteX1" fmla="*/ 3535790 w 3535790"/>
              <a:gd name="connsiteY1" fmla="*/ 0 h 7514148"/>
              <a:gd name="connsiteX2" fmla="*/ 3535790 w 3535790"/>
              <a:gd name="connsiteY2" fmla="*/ 4642648 h 7514148"/>
              <a:gd name="connsiteX3" fmla="*/ 706090 w 3535790"/>
              <a:gd name="connsiteY3" fmla="*/ 7514148 h 7514148"/>
              <a:gd name="connsiteX4" fmla="*/ 0 w 3535790"/>
              <a:gd name="connsiteY4" fmla="*/ 6808058 h 7514148"/>
              <a:gd name="connsiteX5" fmla="*/ 0 w 3535790"/>
              <a:gd name="connsiteY5" fmla="*/ 0 h 75141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35790" h="7514148">
                <a:moveTo>
                  <a:pt x="0" y="0"/>
                </a:moveTo>
                <a:lnTo>
                  <a:pt x="3535790" y="0"/>
                </a:lnTo>
                <a:lnTo>
                  <a:pt x="3535790" y="4642648"/>
                </a:lnTo>
                <a:lnTo>
                  <a:pt x="706090" y="7514148"/>
                </a:lnTo>
                <a:lnTo>
                  <a:pt x="0" y="680805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8580">
                <a:srgbClr val="0286CD">
                  <a:alpha val="0"/>
                </a:srgbClr>
              </a:gs>
              <a:gs pos="0">
                <a:schemeClr val="accent1">
                  <a:alpha val="0"/>
                </a:schemeClr>
              </a:gs>
              <a:gs pos="78000">
                <a:schemeClr val="accent2">
                  <a:lumMod val="75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92948" y="1582578"/>
            <a:ext cx="4996403" cy="1234440"/>
          </a:xfrm>
        </p:spPr>
        <p:txBody>
          <a:bodyPr wrap="square" anchor="b"/>
          <a:lstStyle>
            <a:lvl1pPr algn="l">
              <a:defRPr sz="4000" b="0"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8" name="Subtitle 2">
            <a:extLst>
              <a:ext uri="{FF2B5EF4-FFF2-40B4-BE49-F238E27FC236}">
                <a16:creationId xmlns:a16="http://schemas.microsoft.com/office/drawing/2014/main" id="{6EBAFA4D-7B92-4E38-8320-94F3BCA2E41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592948" y="2871216"/>
            <a:ext cx="5116452" cy="4164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EA43E1E-B208-4DC4-9D6A-01669D00DA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92948" y="4737425"/>
            <a:ext cx="3657600" cy="355601"/>
          </a:xfrm>
        </p:spPr>
        <p:txBody>
          <a:bodyPr anchor="b"/>
          <a:lstStyle>
            <a:lvl1pPr algn="l"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29" name="Text Placeholder 6">
            <a:extLst>
              <a:ext uri="{FF2B5EF4-FFF2-40B4-BE49-F238E27FC236}">
                <a16:creationId xmlns:a16="http://schemas.microsoft.com/office/drawing/2014/main" id="{2111BB8B-7B37-4FB4-B2CD-984FE1C6C5E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92948" y="5138745"/>
            <a:ext cx="3657600" cy="355601"/>
          </a:xfrm>
        </p:spPr>
        <p:txBody>
          <a:bodyPr/>
          <a:lstStyle>
            <a:lvl1pPr algn="l"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Role / Division at VMwa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68E7D54E-C753-48F7-AB43-C7A586277F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92948" y="5494345"/>
            <a:ext cx="3657600" cy="265176"/>
          </a:xfrm>
        </p:spPr>
        <p:txBody>
          <a:bodyPr/>
          <a:lstStyle>
            <a:lvl1pPr algn="l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71B1726-E7C5-4C32-A22F-BB8C0CA833E9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0AEE4566-BDD0-43EB-8593-753B4AFC53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CDDDBBBD-2B47-4F32-9507-B47217AD31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9A63A2EB-B414-427C-8975-27B69B276D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4AFD0B14-399F-447F-BBDD-FF049C867FA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0778A2AC-9D1D-4FDB-973A-47DEA98860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52873CFF-17A0-467C-B061-5E3FD5E92C7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C351EEF9-CE8C-4948-8867-FDC697419B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576FCBCF-AFA0-4D2E-AF64-919BFE9B44B8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fidential   </a:t>
            </a: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©2019 VMware, Inc.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3" name="Ink 2">
                <a:extLst>
                  <a:ext uri="{FF2B5EF4-FFF2-40B4-BE49-F238E27FC236}">
                    <a16:creationId xmlns:a16="http://schemas.microsoft.com/office/drawing/2014/main" id="{229416F8-1B20-4892-97FA-108F191A5885}"/>
                  </a:ext>
                </a:extLst>
              </p14:cNvPr>
              <p14:cNvContentPartPr/>
              <p14:nvPr userDrawn="1"/>
            </p14:nvContentPartPr>
            <p14:xfrm>
              <a:off x="9859593" y="4881179"/>
              <a:ext cx="240" cy="240"/>
            </p14:xfrm>
          </p:contentPart>
        </mc:Choice>
        <mc:Fallback xmlns="">
          <p:pic>
            <p:nvPicPr>
              <p:cNvPr id="3" name="Ink 2">
                <a:extLst>
                  <a:ext uri="{FF2B5EF4-FFF2-40B4-BE49-F238E27FC236}">
                    <a16:creationId xmlns:a16="http://schemas.microsoft.com/office/drawing/2014/main" id="{229416F8-1B20-4892-97FA-108F191A5885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9855513" y="4877099"/>
                <a:ext cx="7920" cy="79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958041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tcome / Benef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BB1458BF-96C1-46C6-A67F-AD0FB4B4E5C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78825" y="4347904"/>
            <a:ext cx="3201988" cy="1600200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8781D19-2DDB-4D83-983D-3D159A7DE7C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78825" y="2063048"/>
            <a:ext cx="3201988" cy="1600200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005EB21-86C3-42EF-BFE7-549D9EA364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0413" y="1699688"/>
            <a:ext cx="2006600" cy="298450"/>
          </a:xfrm>
        </p:spPr>
        <p:txBody>
          <a:bodyPr anchor="b"/>
          <a:lstStyle>
            <a:lvl1pPr>
              <a:defRPr sz="1600">
                <a:solidFill>
                  <a:schemeClr val="accent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Outcome</a:t>
            </a:r>
          </a:p>
        </p:txBody>
      </p: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F789B473-DDE6-4450-A111-3761F341AAE3}"/>
              </a:ext>
            </a:extLst>
          </p:cNvPr>
          <p:cNvCxnSpPr>
            <a:cxnSpLocks/>
          </p:cNvCxnSpPr>
          <p:nvPr userDrawn="1"/>
        </p:nvCxnSpPr>
        <p:spPr>
          <a:xfrm>
            <a:off x="8380413" y="3872441"/>
            <a:ext cx="3808412" cy="0"/>
          </a:xfrm>
          <a:prstGeom prst="line">
            <a:avLst/>
          </a:prstGeom>
          <a:ln w="25400">
            <a:solidFill>
              <a:schemeClr val="accent4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 Placeholder 6">
            <a:extLst>
              <a:ext uri="{FF2B5EF4-FFF2-40B4-BE49-F238E27FC236}">
                <a16:creationId xmlns:a16="http://schemas.microsoft.com/office/drawing/2014/main" id="{0D0977FA-A4CA-4F1F-8109-D7498D165ED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80413" y="3972469"/>
            <a:ext cx="2006600" cy="298450"/>
          </a:xfrm>
        </p:spPr>
        <p:txBody>
          <a:bodyPr anchor="b"/>
          <a:lstStyle>
            <a:lvl1pPr>
              <a:defRPr sz="1600">
                <a:solidFill>
                  <a:schemeClr val="accent4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Benefi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F992B4C-D72B-4160-80E2-5EE05E2DDD3F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dirty="0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E15888C-CFB4-4BEC-9B94-46E698DFC4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wrap="none"/>
          <a:lstStyle>
            <a:lvl1pPr>
              <a:defRPr/>
            </a:lvl1pPr>
          </a:lstStyle>
          <a:p>
            <a:r>
              <a:rPr lang="en-US" dirty="0"/>
              <a:t>Click to Add One Line Tit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2EE86E2-0F2F-484B-8170-3AEBA1DDEB2D}"/>
              </a:ext>
            </a:extLst>
          </p:cNvPr>
          <p:cNvSpPr/>
          <p:nvPr userDrawn="1"/>
        </p:nvSpPr>
        <p:spPr bwMode="ltGray">
          <a:xfrm>
            <a:off x="1" y="1600201"/>
            <a:ext cx="7923212" cy="457094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>
              <a:solidFill>
                <a:schemeClr val="accent2"/>
              </a:solidFill>
            </a:endParaRPr>
          </a:p>
        </p:txBody>
      </p: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56D4D92B-574E-4F63-A5BA-8F7282B54C27}"/>
              </a:ext>
            </a:extLst>
          </p:cNvPr>
          <p:cNvCxnSpPr>
            <a:cxnSpLocks/>
          </p:cNvCxnSpPr>
          <p:nvPr userDrawn="1"/>
        </p:nvCxnSpPr>
        <p:spPr>
          <a:xfrm>
            <a:off x="8380413" y="1608668"/>
            <a:ext cx="3808412" cy="0"/>
          </a:xfrm>
          <a:prstGeom prst="line">
            <a:avLst/>
          </a:prstGeom>
          <a:ln w="25400">
            <a:solidFill>
              <a:schemeClr val="accent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Subtitle 2">
            <a:extLst>
              <a:ext uri="{FF2B5EF4-FFF2-40B4-BE49-F238E27FC236}">
                <a16:creationId xmlns:a16="http://schemas.microsoft.com/office/drawing/2014/main" id="{E9D6A872-88BD-4DFC-AFFD-1E9BEEB6533B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352257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Succ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309367CD-64CE-4B7B-91B1-53B17F8F693D}"/>
              </a:ext>
            </a:extLst>
          </p:cNvPr>
          <p:cNvSpPr/>
          <p:nvPr userDrawn="1"/>
        </p:nvSpPr>
        <p:spPr bwMode="ltGray">
          <a:xfrm>
            <a:off x="1" y="1600201"/>
            <a:ext cx="7923212" cy="457094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US" sz="2800" dirty="0">
              <a:solidFill>
                <a:schemeClr val="accent2"/>
              </a:solidFill>
            </a:endParaRPr>
          </a:p>
        </p:txBody>
      </p:sp>
      <p:sp>
        <p:nvSpPr>
          <p:cNvPr id="72" name="Content Placeholder 17">
            <a:extLst>
              <a:ext uri="{FF2B5EF4-FFF2-40B4-BE49-F238E27FC236}">
                <a16:creationId xmlns:a16="http://schemas.microsoft.com/office/drawing/2014/main" id="{A0456ED3-FDC5-4E29-B939-E35EA08477CA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11645" y="2409552"/>
            <a:ext cx="3201848" cy="934931"/>
          </a:xfrm>
          <a:noFill/>
        </p:spPr>
        <p:txBody>
          <a:bodyPr vert="horz" lIns="0" tIns="0" rIns="0" bIns="45720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1050" dirty="0">
                <a:solidFill>
                  <a:schemeClr val="tx2"/>
                </a:solidFill>
              </a:defRPr>
            </a:lvl1pPr>
            <a:lvl2pPr marL="114300" indent="-114300">
              <a:lnSpc>
                <a:spcPct val="100000"/>
              </a:lnSpc>
              <a:spcBef>
                <a:spcPts val="0"/>
              </a:spcBef>
              <a:defRPr lang="en-US" sz="1000" dirty="0">
                <a:solidFill>
                  <a:schemeClr val="tx2"/>
                </a:solidFill>
              </a:defRPr>
            </a:lvl2pPr>
            <a:lvl3pPr>
              <a:defRPr lang="en-US" sz="1400" dirty="0">
                <a:solidFill>
                  <a:schemeClr val="tx2"/>
                </a:solidFill>
              </a:defRPr>
            </a:lvl3pPr>
            <a:lvl4pPr>
              <a:defRPr lang="en-US" sz="1200" dirty="0">
                <a:solidFill>
                  <a:schemeClr val="tx2"/>
                </a:solidFill>
              </a:defRPr>
            </a:lvl4pPr>
            <a:lvl5pPr>
              <a:defRPr lang="en-US" sz="1200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005EB21-86C3-42EF-BFE7-549D9EA364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3093" y="2079840"/>
            <a:ext cx="2006600" cy="227454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About</a:t>
            </a:r>
          </a:p>
        </p:txBody>
      </p:sp>
      <p:sp>
        <p:nvSpPr>
          <p:cNvPr id="74" name="Content Placeholder 17">
            <a:extLst>
              <a:ext uri="{FF2B5EF4-FFF2-40B4-BE49-F238E27FC236}">
                <a16:creationId xmlns:a16="http://schemas.microsoft.com/office/drawing/2014/main" id="{F00013B6-2241-400E-9E61-946C485F8D5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11645" y="3952605"/>
            <a:ext cx="3201848" cy="847996"/>
          </a:xfrm>
          <a:noFill/>
        </p:spPr>
        <p:txBody>
          <a:bodyPr vert="horz" lIns="0" tIns="0" rIns="0" bIns="45720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1050" dirty="0">
                <a:solidFill>
                  <a:schemeClr val="tx2"/>
                </a:solidFill>
              </a:defRPr>
            </a:lvl1pPr>
            <a:lvl2pPr marL="114300" indent="-114300">
              <a:lnSpc>
                <a:spcPct val="100000"/>
              </a:lnSpc>
              <a:spcBef>
                <a:spcPts val="0"/>
              </a:spcBef>
              <a:defRPr lang="en-US" sz="1000" dirty="0">
                <a:solidFill>
                  <a:schemeClr val="tx2"/>
                </a:solidFill>
              </a:defRPr>
            </a:lvl2pPr>
            <a:lvl3pPr>
              <a:defRPr lang="en-US" sz="1400" dirty="0">
                <a:solidFill>
                  <a:schemeClr val="tx2"/>
                </a:solidFill>
              </a:defRPr>
            </a:lvl3pPr>
            <a:lvl4pPr>
              <a:defRPr lang="en-US" sz="1200" dirty="0">
                <a:solidFill>
                  <a:schemeClr val="tx2"/>
                </a:solidFill>
              </a:defRPr>
            </a:lvl4pPr>
            <a:lvl5pPr>
              <a:defRPr lang="en-US" sz="1200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D8C8783A-257B-4A50-95A0-6C7B8E51707B}"/>
              </a:ext>
            </a:extLst>
          </p:cNvPr>
          <p:cNvCxnSpPr>
            <a:cxnSpLocks/>
          </p:cNvCxnSpPr>
          <p:nvPr userDrawn="1"/>
        </p:nvCxnSpPr>
        <p:spPr>
          <a:xfrm>
            <a:off x="609600" y="1964843"/>
            <a:ext cx="3198812" cy="0"/>
          </a:xfrm>
          <a:prstGeom prst="line">
            <a:avLst/>
          </a:prstGeom>
          <a:ln w="25400">
            <a:solidFill>
              <a:schemeClr val="accent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F789B473-DDE6-4450-A111-3761F341AAE3}"/>
              </a:ext>
            </a:extLst>
          </p:cNvPr>
          <p:cNvCxnSpPr>
            <a:cxnSpLocks/>
          </p:cNvCxnSpPr>
          <p:nvPr userDrawn="1"/>
        </p:nvCxnSpPr>
        <p:spPr>
          <a:xfrm>
            <a:off x="609600" y="3547676"/>
            <a:ext cx="3198812" cy="0"/>
          </a:xfrm>
          <a:prstGeom prst="line">
            <a:avLst/>
          </a:prstGeom>
          <a:ln w="25400">
            <a:solidFill>
              <a:schemeClr val="accent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 Placeholder 6">
            <a:extLst>
              <a:ext uri="{FF2B5EF4-FFF2-40B4-BE49-F238E27FC236}">
                <a16:creationId xmlns:a16="http://schemas.microsoft.com/office/drawing/2014/main" id="{0D0977FA-A4CA-4F1F-8109-D7498D165EDD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613093" y="3634037"/>
            <a:ext cx="2006600" cy="227454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halleng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F992B4C-D72B-4160-80E2-5EE05E2DDD3F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100000"/>
                </a:lnSpc>
                <a:spcBef>
                  <a:spcPts val="0"/>
                </a:spcBef>
              </a:pPr>
              <a:t>‹#›</a:t>
            </a:fld>
            <a:endParaRPr lang="en-US" dirty="0">
              <a:latin typeface="+mj-lt"/>
            </a:endParaRPr>
          </a:p>
        </p:txBody>
      </p:sp>
      <p:sp>
        <p:nvSpPr>
          <p:cNvPr id="87" name="Content Placeholder 17">
            <a:extLst>
              <a:ext uri="{FF2B5EF4-FFF2-40B4-BE49-F238E27FC236}">
                <a16:creationId xmlns:a16="http://schemas.microsoft.com/office/drawing/2014/main" id="{CB3B18B9-1B70-4F2B-86D9-C5183A845D12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269245" y="2409552"/>
            <a:ext cx="3201848" cy="934931"/>
          </a:xfrm>
          <a:noFill/>
        </p:spPr>
        <p:txBody>
          <a:bodyPr vert="horz" lIns="0" tIns="0" rIns="0" bIns="45720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1050" dirty="0">
                <a:solidFill>
                  <a:schemeClr val="tx2"/>
                </a:solidFill>
              </a:defRPr>
            </a:lvl1pPr>
            <a:lvl2pPr marL="114300" indent="-114300">
              <a:lnSpc>
                <a:spcPct val="100000"/>
              </a:lnSpc>
              <a:spcBef>
                <a:spcPts val="0"/>
              </a:spcBef>
              <a:defRPr lang="en-US" sz="1000" dirty="0">
                <a:solidFill>
                  <a:schemeClr val="tx2"/>
                </a:solidFill>
              </a:defRPr>
            </a:lvl2pPr>
            <a:lvl3pPr>
              <a:defRPr lang="en-US" sz="1400" dirty="0">
                <a:solidFill>
                  <a:schemeClr val="tx2"/>
                </a:solidFill>
              </a:defRPr>
            </a:lvl3pPr>
            <a:lvl4pPr>
              <a:defRPr lang="en-US" sz="1200" dirty="0">
                <a:solidFill>
                  <a:schemeClr val="tx2"/>
                </a:solidFill>
              </a:defRPr>
            </a:lvl4pPr>
            <a:lvl5pPr>
              <a:defRPr lang="en-US" sz="1200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8" name="Text Placeholder 6">
            <a:extLst>
              <a:ext uri="{FF2B5EF4-FFF2-40B4-BE49-F238E27FC236}">
                <a16:creationId xmlns:a16="http://schemas.microsoft.com/office/drawing/2014/main" id="{45C2837B-EA55-4186-A2EA-1E7FB5B122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70693" y="2079840"/>
            <a:ext cx="2006600" cy="227454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4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Solution</a:t>
            </a:r>
          </a:p>
        </p:txBody>
      </p:sp>
      <p:sp>
        <p:nvSpPr>
          <p:cNvPr id="89" name="Content Placeholder 17">
            <a:extLst>
              <a:ext uri="{FF2B5EF4-FFF2-40B4-BE49-F238E27FC236}">
                <a16:creationId xmlns:a16="http://schemas.microsoft.com/office/drawing/2014/main" id="{00A3A11C-EA43-4ACC-83B9-C4C7C1080E3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269245" y="3952605"/>
            <a:ext cx="3201848" cy="847996"/>
          </a:xfrm>
          <a:noFill/>
        </p:spPr>
        <p:txBody>
          <a:bodyPr vert="horz" lIns="0" tIns="0" rIns="0" bIns="45720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1050" dirty="0">
                <a:solidFill>
                  <a:schemeClr val="tx2"/>
                </a:solidFill>
              </a:defRPr>
            </a:lvl1pPr>
            <a:lvl2pPr marL="114300" indent="-114300">
              <a:lnSpc>
                <a:spcPct val="100000"/>
              </a:lnSpc>
              <a:spcBef>
                <a:spcPts val="0"/>
              </a:spcBef>
              <a:defRPr lang="en-US" sz="1000" dirty="0">
                <a:solidFill>
                  <a:schemeClr val="tx2"/>
                </a:solidFill>
              </a:defRPr>
            </a:lvl2pPr>
            <a:lvl3pPr>
              <a:defRPr lang="en-US" sz="1400" dirty="0">
                <a:solidFill>
                  <a:schemeClr val="tx2"/>
                </a:solidFill>
              </a:defRPr>
            </a:lvl3pPr>
            <a:lvl4pPr>
              <a:defRPr lang="en-US" sz="1200" dirty="0">
                <a:solidFill>
                  <a:schemeClr val="tx2"/>
                </a:solidFill>
              </a:defRPr>
            </a:lvl4pPr>
            <a:lvl5pPr>
              <a:defRPr lang="en-US" sz="1200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EAAB5B3C-AE89-4605-BB4B-0C07DE733C40}"/>
              </a:ext>
            </a:extLst>
          </p:cNvPr>
          <p:cNvCxnSpPr>
            <a:cxnSpLocks/>
          </p:cNvCxnSpPr>
          <p:nvPr userDrawn="1"/>
        </p:nvCxnSpPr>
        <p:spPr>
          <a:xfrm>
            <a:off x="4267200" y="1964843"/>
            <a:ext cx="3198812" cy="0"/>
          </a:xfrm>
          <a:prstGeom prst="line">
            <a:avLst/>
          </a:prstGeom>
          <a:ln w="25400">
            <a:solidFill>
              <a:schemeClr val="accent4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4709593A-BC10-40A3-842E-346F6E0EE30C}"/>
              </a:ext>
            </a:extLst>
          </p:cNvPr>
          <p:cNvCxnSpPr>
            <a:cxnSpLocks/>
          </p:cNvCxnSpPr>
          <p:nvPr userDrawn="1"/>
        </p:nvCxnSpPr>
        <p:spPr>
          <a:xfrm>
            <a:off x="4267200" y="3547676"/>
            <a:ext cx="3198812" cy="0"/>
          </a:xfrm>
          <a:prstGeom prst="line">
            <a:avLst/>
          </a:prstGeom>
          <a:ln w="25400">
            <a:solidFill>
              <a:schemeClr val="accent6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Text Placeholder 6">
            <a:extLst>
              <a:ext uri="{FF2B5EF4-FFF2-40B4-BE49-F238E27FC236}">
                <a16:creationId xmlns:a16="http://schemas.microsoft.com/office/drawing/2014/main" id="{48CE9E08-388B-4458-B1F4-453A8413D63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70693" y="3634037"/>
            <a:ext cx="2006600" cy="227454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6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Impact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D909953-1B24-4C7D-A173-A53DF3FC7EC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382000" y="2971800"/>
            <a:ext cx="3194050" cy="18288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D0ED48B1-3A1C-41E2-BEC6-E8E6B54A07B0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9074150" y="1600200"/>
            <a:ext cx="1841500" cy="660399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defRPr/>
            </a:lvl1pPr>
          </a:lstStyle>
          <a:p>
            <a:r>
              <a:rPr lang="en-US" dirty="0"/>
              <a:t>Insert Logo he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0A78DDD-5F83-4940-98A7-CF6D7FB8140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82000" y="5022214"/>
            <a:ext cx="3200400" cy="1153795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400"/>
            </a:lvl1pPr>
            <a:lvl2pPr marL="0" indent="0" algn="ctr">
              <a:lnSpc>
                <a:spcPct val="100000"/>
              </a:lnSpc>
              <a:spcBef>
                <a:spcPts val="0"/>
              </a:spcBef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2pPr>
            <a:lvl3pPr marL="0" indent="0" algn="ctr">
              <a:buFont typeface="Open Sans" panose="020B0606030504020204" pitchFamily="34" charset="0"/>
              <a:buNone/>
              <a:defRPr sz="1200">
                <a:solidFill>
                  <a:schemeClr val="accent1"/>
                </a:solidFill>
              </a:defRPr>
            </a:lvl3pPr>
            <a:lvl4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4pPr>
            <a:lvl5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3" name="Text Placeholder 10">
            <a:extLst>
              <a:ext uri="{FF2B5EF4-FFF2-40B4-BE49-F238E27FC236}">
                <a16:creationId xmlns:a16="http://schemas.microsoft.com/office/drawing/2014/main" id="{356F2006-5264-4FEB-8EBA-8BA6A55D19B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75650" y="2347933"/>
            <a:ext cx="3206750" cy="241300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defRPr sz="1200"/>
            </a:lvl1pPr>
            <a:lvl2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2pPr>
            <a:lvl3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3pPr>
            <a:lvl4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4pPr>
            <a:lvl5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Location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AF7F59A-4C67-4F41-A6E0-906850EDF3F1}"/>
              </a:ext>
            </a:extLst>
          </p:cNvPr>
          <p:cNvSpPr/>
          <p:nvPr userDrawn="1"/>
        </p:nvSpPr>
        <p:spPr>
          <a:xfrm>
            <a:off x="608739" y="4978399"/>
            <a:ext cx="3204753" cy="879645"/>
          </a:xfrm>
          <a:prstGeom prst="rect">
            <a:avLst/>
          </a:prstGeom>
          <a:gradFill>
            <a:gsLst>
              <a:gs pos="0">
                <a:schemeClr val="accent4"/>
              </a:gs>
              <a:gs pos="98000">
                <a:schemeClr val="accent4"/>
              </a:gs>
            </a:gsLst>
            <a:lin ang="5400000" scaled="1"/>
          </a:gradFill>
        </p:spPr>
        <p:txBody>
          <a:bodyPr vert="horz" lIns="594360" tIns="457200" rIns="457200" bIns="457200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​"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85779326-D874-4DC4-BA73-C7157B414B05}"/>
              </a:ext>
            </a:extLst>
          </p:cNvPr>
          <p:cNvSpPr/>
          <p:nvPr userDrawn="1"/>
        </p:nvSpPr>
        <p:spPr>
          <a:xfrm>
            <a:off x="4267199" y="4978400"/>
            <a:ext cx="3203893" cy="878840"/>
          </a:xfrm>
          <a:prstGeom prst="rect">
            <a:avLst/>
          </a:prstGeom>
          <a:solidFill>
            <a:schemeClr val="accent1"/>
          </a:solidFill>
        </p:spPr>
        <p:txBody>
          <a:bodyPr vert="horz" lIns="457200" tIns="457200" rIns="594360" bIns="0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​"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0FD359B-DBB1-4A58-B3A5-88DBD360EF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ompany Name</a:t>
            </a:r>
          </a:p>
        </p:txBody>
      </p:sp>
      <p:sp>
        <p:nvSpPr>
          <p:cNvPr id="27" name="Subtitle 2">
            <a:extLst>
              <a:ext uri="{FF2B5EF4-FFF2-40B4-BE49-F238E27FC236}">
                <a16:creationId xmlns:a16="http://schemas.microsoft.com/office/drawing/2014/main" id="{9A29AA74-2865-4B6A-BD11-7A351A336A6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09C7727F-F570-4AF1-856D-98544836237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75650" y="2647290"/>
            <a:ext cx="3206750" cy="241300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defRPr sz="1200"/>
            </a:lvl1pPr>
            <a:lvl2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2pPr>
            <a:lvl3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3pPr>
            <a:lvl4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4pPr>
            <a:lvl5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Industry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F13DC67D-58A2-45BD-A728-B6ECDD8B5A5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3093" y="4978400"/>
            <a:ext cx="3200400" cy="227454"/>
          </a:xfrm>
        </p:spPr>
        <p:txBody>
          <a:bodyPr anchor="b"/>
          <a:lstStyle>
            <a:lvl1pPr algn="ctr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Product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53D9F0A4-74F4-4BA6-AD21-4791EF0A20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273995" y="4978400"/>
            <a:ext cx="3200400" cy="227454"/>
          </a:xfrm>
        </p:spPr>
        <p:txBody>
          <a:bodyPr anchor="b"/>
          <a:lstStyle>
            <a:lvl1pPr algn="ctr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Strategic Priorities</a:t>
            </a:r>
          </a:p>
        </p:txBody>
      </p:sp>
    </p:spTree>
    <p:extLst>
      <p:ext uri="{BB962C8B-B14F-4D97-AF65-F5344CB8AC3E}">
        <p14:creationId xmlns:p14="http://schemas.microsoft.com/office/powerpoint/2010/main" val="3665481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c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val 20">
            <a:extLst>
              <a:ext uri="{FF2B5EF4-FFF2-40B4-BE49-F238E27FC236}">
                <a16:creationId xmlns:a16="http://schemas.microsoft.com/office/drawing/2014/main" id="{B1C210DC-5DBB-4F0D-875F-CD8AAAB938CE}"/>
              </a:ext>
            </a:extLst>
          </p:cNvPr>
          <p:cNvSpPr/>
          <p:nvPr userDrawn="1"/>
        </p:nvSpPr>
        <p:spPr bwMode="gray">
          <a:xfrm>
            <a:off x="1981877" y="2055429"/>
            <a:ext cx="1828959" cy="1828959"/>
          </a:xfrm>
          <a:prstGeom prst="ellipse">
            <a:avLst/>
          </a:prstGeom>
          <a:solidFill>
            <a:schemeClr val="accent4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446F04B0-7860-407F-85B7-42E38FAFE34B}"/>
              </a:ext>
            </a:extLst>
          </p:cNvPr>
          <p:cNvSpPr/>
          <p:nvPr userDrawn="1"/>
        </p:nvSpPr>
        <p:spPr bwMode="gray">
          <a:xfrm>
            <a:off x="8389301" y="2055429"/>
            <a:ext cx="1828959" cy="1828959"/>
          </a:xfrm>
          <a:prstGeom prst="ellipse">
            <a:avLst/>
          </a:prstGeom>
          <a:solidFill>
            <a:schemeClr val="accent2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6FECF9D0-D7A8-43DD-B38D-E1090C0B322F}"/>
              </a:ext>
            </a:extLst>
          </p:cNvPr>
          <p:cNvSpPr/>
          <p:nvPr userDrawn="1"/>
        </p:nvSpPr>
        <p:spPr bwMode="gray">
          <a:xfrm>
            <a:off x="5184924" y="2055429"/>
            <a:ext cx="1828959" cy="1828959"/>
          </a:xfrm>
          <a:prstGeom prst="ellipse">
            <a:avLst/>
          </a:prstGeom>
          <a:solidFill>
            <a:schemeClr val="accent1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AD23688F-2550-4740-B5D6-C78F74FDE08D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dirty="0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4C5A99F-0678-4DC4-A266-1AD031E9C8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One Line Tit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EBF1472-E940-4CC7-B5D3-349346A425A8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CC9B40-9AF4-4EF7-8384-2ACE79EA95C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25905" y="4267940"/>
            <a:ext cx="2744788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accent4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D69CA39A-E967-4A68-A944-35C345A456D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21225" y="4267940"/>
            <a:ext cx="2744788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accent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41A16A22-350B-4B24-A3CD-4D5DE470DEE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923213" y="4267940"/>
            <a:ext cx="2744788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42121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c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Oval 83">
            <a:extLst>
              <a:ext uri="{FF2B5EF4-FFF2-40B4-BE49-F238E27FC236}">
                <a16:creationId xmlns:a16="http://schemas.microsoft.com/office/drawing/2014/main" id="{085441A7-EBA5-4ABB-8D29-CE4338F0F9B5}"/>
              </a:ext>
            </a:extLst>
          </p:cNvPr>
          <p:cNvSpPr/>
          <p:nvPr userDrawn="1"/>
        </p:nvSpPr>
        <p:spPr bwMode="gray">
          <a:xfrm>
            <a:off x="1065749" y="2060872"/>
            <a:ext cx="1828959" cy="1828959"/>
          </a:xfrm>
          <a:prstGeom prst="ellipse">
            <a:avLst/>
          </a:prstGeom>
          <a:solidFill>
            <a:schemeClr val="accent4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3019BB56-AE7C-42CA-A8FF-432F4F176B8B}"/>
              </a:ext>
            </a:extLst>
          </p:cNvPr>
          <p:cNvSpPr/>
          <p:nvPr userDrawn="1"/>
        </p:nvSpPr>
        <p:spPr bwMode="gray">
          <a:xfrm>
            <a:off x="9302132" y="2060872"/>
            <a:ext cx="1828959" cy="1828959"/>
          </a:xfrm>
          <a:prstGeom prst="ellipse">
            <a:avLst/>
          </a:prstGeom>
          <a:solidFill>
            <a:schemeClr val="accent2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5670C03F-6336-45E3-A9F4-0CD130D80D1B}"/>
              </a:ext>
            </a:extLst>
          </p:cNvPr>
          <p:cNvSpPr/>
          <p:nvPr userDrawn="1"/>
        </p:nvSpPr>
        <p:spPr bwMode="gray">
          <a:xfrm>
            <a:off x="6562100" y="2060872"/>
            <a:ext cx="1828959" cy="1828959"/>
          </a:xfrm>
          <a:prstGeom prst="ellipse">
            <a:avLst/>
          </a:prstGeom>
          <a:solidFill>
            <a:schemeClr val="accent1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45D908EF-1F96-4808-A8DB-F55AB9E8E436}"/>
              </a:ext>
            </a:extLst>
          </p:cNvPr>
          <p:cNvSpPr/>
          <p:nvPr userDrawn="1"/>
        </p:nvSpPr>
        <p:spPr bwMode="gray">
          <a:xfrm>
            <a:off x="3806932" y="2060872"/>
            <a:ext cx="1828959" cy="1828959"/>
          </a:xfrm>
          <a:prstGeom prst="ellipse">
            <a:avLst/>
          </a:prstGeom>
          <a:solidFill>
            <a:schemeClr val="accent3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0AAF357F-A1D5-401D-94D2-9C67E6AEDA09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dirty="0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A6ED71B-2619-4816-B753-5E850ED08F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One Line Tit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B679D5C-AEFA-4052-96E3-7DF67D7C105A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83A73281-E5F0-4C3B-BE4E-A12D56CC100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42673" y="4269508"/>
            <a:ext cx="22860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accent4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70078EAE-661A-4C72-917B-F0225239F6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79813" y="4269508"/>
            <a:ext cx="22860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accent3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566D6B40-9CB0-4B56-A3E1-9A7F945F094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23013" y="4269508"/>
            <a:ext cx="22860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accent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16F5CA9C-E491-4F70-B6EE-A506410601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66213" y="4269508"/>
            <a:ext cx="22860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47049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Ic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Oval 21">
            <a:extLst>
              <a:ext uri="{FF2B5EF4-FFF2-40B4-BE49-F238E27FC236}">
                <a16:creationId xmlns:a16="http://schemas.microsoft.com/office/drawing/2014/main" id="{A1FDF9D3-5B68-4A75-97BF-2C5113CFAA66}"/>
              </a:ext>
            </a:extLst>
          </p:cNvPr>
          <p:cNvSpPr/>
          <p:nvPr userDrawn="1"/>
        </p:nvSpPr>
        <p:spPr bwMode="gray">
          <a:xfrm>
            <a:off x="609800" y="2064663"/>
            <a:ext cx="1828959" cy="1828959"/>
          </a:xfrm>
          <a:prstGeom prst="ellipse">
            <a:avLst/>
          </a:prstGeom>
          <a:solidFill>
            <a:schemeClr val="accent4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7EAB1992-E472-4489-8A4E-A8FE45DE10CF}"/>
              </a:ext>
            </a:extLst>
          </p:cNvPr>
          <p:cNvSpPr/>
          <p:nvPr userDrawn="1"/>
        </p:nvSpPr>
        <p:spPr bwMode="gray">
          <a:xfrm>
            <a:off x="9744473" y="2064663"/>
            <a:ext cx="1828959" cy="1828959"/>
          </a:xfrm>
          <a:prstGeom prst="ellipse">
            <a:avLst/>
          </a:prstGeom>
          <a:solidFill>
            <a:schemeClr val="accent5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C551C90A-573F-4E4A-9359-5C7B0F546BF9}"/>
              </a:ext>
            </a:extLst>
          </p:cNvPr>
          <p:cNvSpPr/>
          <p:nvPr userDrawn="1"/>
        </p:nvSpPr>
        <p:spPr bwMode="gray">
          <a:xfrm>
            <a:off x="5201380" y="2064663"/>
            <a:ext cx="1828959" cy="18289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AF79E162-3D8F-4829-A4AD-02A03597B11A}"/>
              </a:ext>
            </a:extLst>
          </p:cNvPr>
          <p:cNvSpPr/>
          <p:nvPr userDrawn="1"/>
        </p:nvSpPr>
        <p:spPr bwMode="gray">
          <a:xfrm>
            <a:off x="2892452" y="2064663"/>
            <a:ext cx="1828959" cy="1828959"/>
          </a:xfrm>
          <a:prstGeom prst="ellipse">
            <a:avLst/>
          </a:prstGeom>
          <a:solidFill>
            <a:schemeClr val="accent3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026B9B36-08E7-4664-970C-13123F24C793}"/>
              </a:ext>
            </a:extLst>
          </p:cNvPr>
          <p:cNvSpPr/>
          <p:nvPr userDrawn="1"/>
        </p:nvSpPr>
        <p:spPr bwMode="gray">
          <a:xfrm>
            <a:off x="7464921" y="2064663"/>
            <a:ext cx="1828959" cy="1828959"/>
          </a:xfrm>
          <a:prstGeom prst="ellipse">
            <a:avLst/>
          </a:prstGeom>
          <a:solidFill>
            <a:schemeClr val="accent2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chemeClr val="lt1"/>
              </a:solidFill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0E19ACAF-9401-49DF-ACFF-2BA2129506AB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dirty="0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BA8A47F-2243-412F-A1A8-FA8E3475F5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One Line Tit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EEA64E97-C31D-49B1-B8E1-20E5F404F516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2E201879-B985-4ADE-8AD6-6C3E14CE0AF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0850" y="4282873"/>
            <a:ext cx="18288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000">
                <a:solidFill>
                  <a:schemeClr val="accent4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600"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9495BAAB-E860-4075-9DA3-ABA7C32D235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94013" y="4282873"/>
            <a:ext cx="18288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000">
                <a:solidFill>
                  <a:schemeClr val="accent3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600"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62D3946B-F2F1-42AF-8E89-00761A7745D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85093" y="4282873"/>
            <a:ext cx="18288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000">
                <a:solidFill>
                  <a:schemeClr val="accent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600"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2F84664-2E68-46AE-AE2C-E8D2B6C9A1D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70001" y="4282873"/>
            <a:ext cx="18288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000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600"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CDC9B65E-8BAA-4676-9F32-44EC3772D34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752013" y="4282873"/>
            <a:ext cx="18288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000">
                <a:solidFill>
                  <a:schemeClr val="accent5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600"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31213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3FC38F94-115E-4DBE-80BB-680CB172F9FB}"/>
              </a:ext>
            </a:extLst>
          </p:cNvPr>
          <p:cNvSpPr/>
          <p:nvPr userDrawn="1"/>
        </p:nvSpPr>
        <p:spPr>
          <a:xfrm rot="2700000">
            <a:off x="810400" y="-3656857"/>
            <a:ext cx="9864449" cy="13468141"/>
          </a:xfrm>
          <a:custGeom>
            <a:avLst/>
            <a:gdLst>
              <a:gd name="connsiteX0" fmla="*/ 0 w 9864449"/>
              <a:gd name="connsiteY0" fmla="*/ 7314461 h 13468141"/>
              <a:gd name="connsiteX1" fmla="*/ 7314462 w 9864449"/>
              <a:gd name="connsiteY1" fmla="*/ 0 h 13468141"/>
              <a:gd name="connsiteX2" fmla="*/ 9864449 w 9864449"/>
              <a:gd name="connsiteY2" fmla="*/ 2549987 h 13468141"/>
              <a:gd name="connsiteX3" fmla="*/ 9864449 w 9864449"/>
              <a:gd name="connsiteY3" fmla="*/ 7148688 h 13468141"/>
              <a:gd name="connsiteX4" fmla="*/ 3544996 w 9864449"/>
              <a:gd name="connsiteY4" fmla="*/ 13468141 h 13468141"/>
              <a:gd name="connsiteX5" fmla="*/ 0 w 9864449"/>
              <a:gd name="connsiteY5" fmla="*/ 9923145 h 134681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864449" h="13468141">
                <a:moveTo>
                  <a:pt x="0" y="7314461"/>
                </a:moveTo>
                <a:lnTo>
                  <a:pt x="7314462" y="0"/>
                </a:lnTo>
                <a:lnTo>
                  <a:pt x="9864449" y="2549987"/>
                </a:lnTo>
                <a:lnTo>
                  <a:pt x="9864449" y="7148688"/>
                </a:lnTo>
                <a:lnTo>
                  <a:pt x="3544996" y="13468141"/>
                </a:lnTo>
                <a:lnTo>
                  <a:pt x="0" y="9923145"/>
                </a:lnTo>
                <a:close/>
              </a:path>
            </a:pathLst>
          </a:custGeom>
          <a:gradFill>
            <a:gsLst>
              <a:gs pos="0">
                <a:schemeClr val="bg1">
                  <a:alpha val="76000"/>
                </a:schemeClr>
              </a:gs>
              <a:gs pos="89000">
                <a:schemeClr val="tx1">
                  <a:lumMod val="16000"/>
                  <a:lumOff val="84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863" name="Text Placeholder 862">
            <a:extLst>
              <a:ext uri="{FF2B5EF4-FFF2-40B4-BE49-F238E27FC236}">
                <a16:creationId xmlns:a16="http://schemas.microsoft.com/office/drawing/2014/main" id="{806A8161-3A3C-4E8C-98F0-AD01607CDAE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8013" y="2057400"/>
            <a:ext cx="5943599" cy="2285999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3600"/>
            </a:lvl1pPr>
            <a:lvl2pPr marL="273050" indent="0"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512" name="TextBox 1511">
            <a:extLst>
              <a:ext uri="{FF2B5EF4-FFF2-40B4-BE49-F238E27FC236}">
                <a16:creationId xmlns:a16="http://schemas.microsoft.com/office/drawing/2014/main" id="{6C78DB77-69E8-414D-8309-EC1F1C8DCA8E}"/>
              </a:ext>
            </a:extLst>
          </p:cNvPr>
          <p:cNvSpPr txBox="1"/>
          <p:nvPr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dirty="0">
              <a:latin typeface="+mj-lt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DA08A2D-0A8A-41FD-AA58-0A072FFF329F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3596DD11-914A-4FCB-BD5A-B452681B61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522938A5-2D76-46C8-B7C1-3F77D5812E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D6EDDC02-7874-477D-8151-D0B193E894D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11497605-B9F0-499D-9BAD-CAD4DF264DD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87A173DB-972A-49CD-B107-F84916A5F7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AA7E256D-662E-4F46-945F-75B84B1B314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745AE183-7E5A-47CA-8BC0-5071F1977EE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9C494915-7365-4D9B-82B2-73349D47E724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C5E11EA0-C34E-47CC-A1C4-C041612819E2}"/>
              </a:ext>
            </a:extLst>
          </p:cNvPr>
          <p:cNvSpPr/>
          <p:nvPr userDrawn="1"/>
        </p:nvSpPr>
        <p:spPr>
          <a:xfrm rot="2700000">
            <a:off x="9037252" y="3334944"/>
            <a:ext cx="970552" cy="4540137"/>
          </a:xfrm>
          <a:custGeom>
            <a:avLst/>
            <a:gdLst>
              <a:gd name="connsiteX0" fmla="*/ 1 w 970552"/>
              <a:gd name="connsiteY0" fmla="*/ 970551 h 4540137"/>
              <a:gd name="connsiteX1" fmla="*/ 970552 w 970552"/>
              <a:gd name="connsiteY1" fmla="*/ 0 h 4540137"/>
              <a:gd name="connsiteX2" fmla="*/ 970552 w 970552"/>
              <a:gd name="connsiteY2" fmla="*/ 3569585 h 4540137"/>
              <a:gd name="connsiteX3" fmla="*/ 0 w 970552"/>
              <a:gd name="connsiteY3" fmla="*/ 4540137 h 4540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0552" h="4540137">
                <a:moveTo>
                  <a:pt x="1" y="970551"/>
                </a:moveTo>
                <a:lnTo>
                  <a:pt x="970552" y="0"/>
                </a:lnTo>
                <a:lnTo>
                  <a:pt x="970552" y="3569585"/>
                </a:lnTo>
                <a:lnTo>
                  <a:pt x="0" y="4540137"/>
                </a:lnTo>
                <a:close/>
              </a:path>
            </a:pathLst>
          </a:custGeom>
          <a:gradFill>
            <a:gsLst>
              <a:gs pos="24000">
                <a:schemeClr val="accent4"/>
              </a:gs>
              <a:gs pos="87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2583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–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4AA04BF1-028D-4BDA-A4B7-2EF92A074224}"/>
              </a:ext>
            </a:extLst>
          </p:cNvPr>
          <p:cNvSpPr/>
          <p:nvPr userDrawn="1"/>
        </p:nvSpPr>
        <p:spPr>
          <a:xfrm rot="2700000">
            <a:off x="810400" y="-3656857"/>
            <a:ext cx="9864449" cy="13468141"/>
          </a:xfrm>
          <a:custGeom>
            <a:avLst/>
            <a:gdLst>
              <a:gd name="connsiteX0" fmla="*/ 0 w 9864449"/>
              <a:gd name="connsiteY0" fmla="*/ 7314461 h 13468141"/>
              <a:gd name="connsiteX1" fmla="*/ 7314462 w 9864449"/>
              <a:gd name="connsiteY1" fmla="*/ 0 h 13468141"/>
              <a:gd name="connsiteX2" fmla="*/ 9864449 w 9864449"/>
              <a:gd name="connsiteY2" fmla="*/ 2549987 h 13468141"/>
              <a:gd name="connsiteX3" fmla="*/ 9864449 w 9864449"/>
              <a:gd name="connsiteY3" fmla="*/ 7148688 h 13468141"/>
              <a:gd name="connsiteX4" fmla="*/ 3544996 w 9864449"/>
              <a:gd name="connsiteY4" fmla="*/ 13468141 h 13468141"/>
              <a:gd name="connsiteX5" fmla="*/ 0 w 9864449"/>
              <a:gd name="connsiteY5" fmla="*/ 9923145 h 134681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864449" h="13468141">
                <a:moveTo>
                  <a:pt x="0" y="7314461"/>
                </a:moveTo>
                <a:lnTo>
                  <a:pt x="7314462" y="0"/>
                </a:lnTo>
                <a:lnTo>
                  <a:pt x="9864449" y="2549987"/>
                </a:lnTo>
                <a:lnTo>
                  <a:pt x="9864449" y="7148688"/>
                </a:lnTo>
                <a:lnTo>
                  <a:pt x="3544996" y="13468141"/>
                </a:lnTo>
                <a:lnTo>
                  <a:pt x="0" y="9923145"/>
                </a:lnTo>
                <a:close/>
              </a:path>
            </a:pathLst>
          </a:custGeom>
          <a:gradFill>
            <a:gsLst>
              <a:gs pos="0">
                <a:schemeClr val="bg1">
                  <a:alpha val="76000"/>
                </a:schemeClr>
              </a:gs>
              <a:gs pos="89000">
                <a:schemeClr val="tx1">
                  <a:lumMod val="16000"/>
                  <a:lumOff val="84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473426A1-35AB-43B6-9A41-2142ACF3ACC4}"/>
              </a:ext>
            </a:extLst>
          </p:cNvPr>
          <p:cNvSpPr/>
          <p:nvPr userDrawn="1"/>
        </p:nvSpPr>
        <p:spPr>
          <a:xfrm rot="2700000">
            <a:off x="9037252" y="3334944"/>
            <a:ext cx="970552" cy="4540137"/>
          </a:xfrm>
          <a:custGeom>
            <a:avLst/>
            <a:gdLst>
              <a:gd name="connsiteX0" fmla="*/ 1 w 970552"/>
              <a:gd name="connsiteY0" fmla="*/ 970551 h 4540137"/>
              <a:gd name="connsiteX1" fmla="*/ 970552 w 970552"/>
              <a:gd name="connsiteY1" fmla="*/ 0 h 4540137"/>
              <a:gd name="connsiteX2" fmla="*/ 970552 w 970552"/>
              <a:gd name="connsiteY2" fmla="*/ 3569585 h 4540137"/>
              <a:gd name="connsiteX3" fmla="*/ 0 w 970552"/>
              <a:gd name="connsiteY3" fmla="*/ 4540137 h 4540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0552" h="4540137">
                <a:moveTo>
                  <a:pt x="1" y="970551"/>
                </a:moveTo>
                <a:lnTo>
                  <a:pt x="970552" y="0"/>
                </a:lnTo>
                <a:lnTo>
                  <a:pt x="970552" y="3569585"/>
                </a:lnTo>
                <a:lnTo>
                  <a:pt x="0" y="4540137"/>
                </a:lnTo>
                <a:close/>
              </a:path>
            </a:pathLst>
          </a:custGeom>
          <a:gradFill>
            <a:gsLst>
              <a:gs pos="24000">
                <a:srgbClr val="7F35AB"/>
              </a:gs>
              <a:gs pos="87000">
                <a:srgbClr val="264088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863" name="Text Placeholder 862">
            <a:extLst>
              <a:ext uri="{FF2B5EF4-FFF2-40B4-BE49-F238E27FC236}">
                <a16:creationId xmlns:a16="http://schemas.microsoft.com/office/drawing/2014/main" id="{806A8161-3A3C-4E8C-98F0-AD01607CDAE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8013" y="2057400"/>
            <a:ext cx="5943599" cy="2285999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3600"/>
            </a:lvl1pPr>
            <a:lvl2pPr marL="273050" indent="0"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512" name="TextBox 1511">
            <a:extLst>
              <a:ext uri="{FF2B5EF4-FFF2-40B4-BE49-F238E27FC236}">
                <a16:creationId xmlns:a16="http://schemas.microsoft.com/office/drawing/2014/main" id="{6C78DB77-69E8-414D-8309-EC1F1C8DCA8E}"/>
              </a:ext>
            </a:extLst>
          </p:cNvPr>
          <p:cNvSpPr txBox="1"/>
          <p:nvPr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dirty="0">
              <a:latin typeface="+mj-lt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DA08A2D-0A8A-41FD-AA58-0A072FFF329F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3596DD11-914A-4FCB-BD5A-B452681B61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522938A5-2D76-46C8-B7C1-3F77D5812E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D6EDDC02-7874-477D-8151-D0B193E894D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11497605-B9F0-499D-9BAD-CAD4DF264DD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87A173DB-972A-49CD-B107-F84916A5F7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AA7E256D-662E-4F46-945F-75B84B1B314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745AE183-7E5A-47CA-8BC0-5071F1977EE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9C494915-7365-4D9B-82B2-73349D47E724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</p:spTree>
    <p:extLst>
      <p:ext uri="{BB962C8B-B14F-4D97-AF65-F5344CB8AC3E}">
        <p14:creationId xmlns:p14="http://schemas.microsoft.com/office/powerpoint/2010/main" val="2414013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–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19A14F3E-8802-40CC-94BC-F7A8969E93E3}"/>
              </a:ext>
            </a:extLst>
          </p:cNvPr>
          <p:cNvSpPr/>
          <p:nvPr userDrawn="1"/>
        </p:nvSpPr>
        <p:spPr>
          <a:xfrm rot="2700000">
            <a:off x="810400" y="-3656857"/>
            <a:ext cx="9864449" cy="13468141"/>
          </a:xfrm>
          <a:custGeom>
            <a:avLst/>
            <a:gdLst>
              <a:gd name="connsiteX0" fmla="*/ 0 w 9864449"/>
              <a:gd name="connsiteY0" fmla="*/ 7314461 h 13468141"/>
              <a:gd name="connsiteX1" fmla="*/ 7314462 w 9864449"/>
              <a:gd name="connsiteY1" fmla="*/ 0 h 13468141"/>
              <a:gd name="connsiteX2" fmla="*/ 9864449 w 9864449"/>
              <a:gd name="connsiteY2" fmla="*/ 2549987 h 13468141"/>
              <a:gd name="connsiteX3" fmla="*/ 9864449 w 9864449"/>
              <a:gd name="connsiteY3" fmla="*/ 7148688 h 13468141"/>
              <a:gd name="connsiteX4" fmla="*/ 3544996 w 9864449"/>
              <a:gd name="connsiteY4" fmla="*/ 13468141 h 13468141"/>
              <a:gd name="connsiteX5" fmla="*/ 0 w 9864449"/>
              <a:gd name="connsiteY5" fmla="*/ 9923145 h 134681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864449" h="13468141">
                <a:moveTo>
                  <a:pt x="0" y="7314461"/>
                </a:moveTo>
                <a:lnTo>
                  <a:pt x="7314462" y="0"/>
                </a:lnTo>
                <a:lnTo>
                  <a:pt x="9864449" y="2549987"/>
                </a:lnTo>
                <a:lnTo>
                  <a:pt x="9864449" y="7148688"/>
                </a:lnTo>
                <a:lnTo>
                  <a:pt x="3544996" y="13468141"/>
                </a:lnTo>
                <a:lnTo>
                  <a:pt x="0" y="9923145"/>
                </a:lnTo>
                <a:close/>
              </a:path>
            </a:pathLst>
          </a:custGeom>
          <a:gradFill>
            <a:gsLst>
              <a:gs pos="0">
                <a:schemeClr val="bg1">
                  <a:alpha val="76000"/>
                </a:schemeClr>
              </a:gs>
              <a:gs pos="89000">
                <a:schemeClr val="tx1">
                  <a:lumMod val="16000"/>
                  <a:lumOff val="84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0CD52C01-87CF-4DAA-AF73-217E439433CA}"/>
              </a:ext>
            </a:extLst>
          </p:cNvPr>
          <p:cNvSpPr/>
          <p:nvPr userDrawn="1"/>
        </p:nvSpPr>
        <p:spPr>
          <a:xfrm rot="2700000">
            <a:off x="9037252" y="3334944"/>
            <a:ext cx="970552" cy="4540137"/>
          </a:xfrm>
          <a:custGeom>
            <a:avLst/>
            <a:gdLst>
              <a:gd name="connsiteX0" fmla="*/ 1 w 970552"/>
              <a:gd name="connsiteY0" fmla="*/ 970551 h 4540137"/>
              <a:gd name="connsiteX1" fmla="*/ 970552 w 970552"/>
              <a:gd name="connsiteY1" fmla="*/ 0 h 4540137"/>
              <a:gd name="connsiteX2" fmla="*/ 970552 w 970552"/>
              <a:gd name="connsiteY2" fmla="*/ 3569585 h 4540137"/>
              <a:gd name="connsiteX3" fmla="*/ 0 w 970552"/>
              <a:gd name="connsiteY3" fmla="*/ 4540137 h 4540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0552" h="4540137">
                <a:moveTo>
                  <a:pt x="1" y="970551"/>
                </a:moveTo>
                <a:lnTo>
                  <a:pt x="970552" y="0"/>
                </a:lnTo>
                <a:lnTo>
                  <a:pt x="970552" y="3569585"/>
                </a:lnTo>
                <a:lnTo>
                  <a:pt x="0" y="4540137"/>
                </a:lnTo>
                <a:close/>
              </a:path>
            </a:pathLst>
          </a:custGeom>
          <a:gradFill>
            <a:gsLst>
              <a:gs pos="24000">
                <a:schemeClr val="accent3"/>
              </a:gs>
              <a:gs pos="87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863" name="Text Placeholder 862">
            <a:extLst>
              <a:ext uri="{FF2B5EF4-FFF2-40B4-BE49-F238E27FC236}">
                <a16:creationId xmlns:a16="http://schemas.microsoft.com/office/drawing/2014/main" id="{806A8161-3A3C-4E8C-98F0-AD01607CDAE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8013" y="2057400"/>
            <a:ext cx="5943599" cy="2285999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3600"/>
            </a:lvl1pPr>
            <a:lvl2pPr marL="273050" indent="0"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512" name="TextBox 1511">
            <a:extLst>
              <a:ext uri="{FF2B5EF4-FFF2-40B4-BE49-F238E27FC236}">
                <a16:creationId xmlns:a16="http://schemas.microsoft.com/office/drawing/2014/main" id="{6C78DB77-69E8-414D-8309-EC1F1C8DCA8E}"/>
              </a:ext>
            </a:extLst>
          </p:cNvPr>
          <p:cNvSpPr txBox="1"/>
          <p:nvPr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dirty="0">
              <a:latin typeface="+mj-lt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DA08A2D-0A8A-41FD-AA58-0A072FFF329F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3596DD11-914A-4FCB-BD5A-B452681B61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522938A5-2D76-46C8-B7C1-3F77D5812E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D6EDDC02-7874-477D-8151-D0B193E894D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11497605-B9F0-499D-9BAD-CAD4DF264DD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87A173DB-972A-49CD-B107-F84916A5F7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AA7E256D-662E-4F46-945F-75B84B1B314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745AE183-7E5A-47CA-8BC0-5071F1977EE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9C494915-7365-4D9B-82B2-73349D47E724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</p:spTree>
    <p:extLst>
      <p:ext uri="{BB962C8B-B14F-4D97-AF65-F5344CB8AC3E}">
        <p14:creationId xmlns:p14="http://schemas.microsoft.com/office/powerpoint/2010/main" val="2543219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with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B95FD2E6-B8EA-4366-97C4-6A53370F84D0}"/>
              </a:ext>
            </a:extLst>
          </p:cNvPr>
          <p:cNvSpPr/>
          <p:nvPr userDrawn="1"/>
        </p:nvSpPr>
        <p:spPr>
          <a:xfrm>
            <a:off x="5379720" y="-52904"/>
            <a:ext cx="6809966" cy="6821367"/>
          </a:xfrm>
          <a:custGeom>
            <a:avLst/>
            <a:gdLst>
              <a:gd name="connsiteX0" fmla="*/ 6845677 w 6846538"/>
              <a:gd name="connsiteY0" fmla="*/ 4820854 h 6858000"/>
              <a:gd name="connsiteX1" fmla="*/ 4811938 w 6846538"/>
              <a:gd name="connsiteY1" fmla="*/ 6857998 h 6858000"/>
              <a:gd name="connsiteX2" fmla="*/ 6845677 w 6846538"/>
              <a:gd name="connsiteY2" fmla="*/ 6857998 h 6858000"/>
              <a:gd name="connsiteX3" fmla="*/ 6846538 w 6846538"/>
              <a:gd name="connsiteY3" fmla="*/ 0 h 6858000"/>
              <a:gd name="connsiteX4" fmla="*/ 6846538 w 6846538"/>
              <a:gd name="connsiteY4" fmla="*/ 6858000 h 6858000"/>
              <a:gd name="connsiteX5" fmla="*/ 0 w 684653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46538" h="6858000">
                <a:moveTo>
                  <a:pt x="6845677" y="4820854"/>
                </a:moveTo>
                <a:lnTo>
                  <a:pt x="4811938" y="6857998"/>
                </a:lnTo>
                <a:lnTo>
                  <a:pt x="6845677" y="6857998"/>
                </a:lnTo>
                <a:close/>
                <a:moveTo>
                  <a:pt x="6846538" y="0"/>
                </a:moveTo>
                <a:lnTo>
                  <a:pt x="6846538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bg1">
                  <a:alpha val="76000"/>
                </a:schemeClr>
              </a:gs>
              <a:gs pos="89000">
                <a:schemeClr val="tx1">
                  <a:lumMod val="16000"/>
                  <a:lumOff val="84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774" name="TextBox 773">
            <a:extLst>
              <a:ext uri="{FF2B5EF4-FFF2-40B4-BE49-F238E27FC236}">
                <a16:creationId xmlns:a16="http://schemas.microsoft.com/office/drawing/2014/main" id="{BC2C04F8-C4D0-4DA4-8689-3A3303F0660F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dirty="0">
              <a:latin typeface="+mj-lt"/>
            </a:endParaRPr>
          </a:p>
        </p:txBody>
      </p:sp>
      <p:sp>
        <p:nvSpPr>
          <p:cNvPr id="2147" name="Oval 2146">
            <a:extLst>
              <a:ext uri="{FF2B5EF4-FFF2-40B4-BE49-F238E27FC236}">
                <a16:creationId xmlns:a16="http://schemas.microsoft.com/office/drawing/2014/main" id="{FDDA58E5-A99B-48C0-A6B7-6BAE32E46F62}"/>
              </a:ext>
            </a:extLst>
          </p:cNvPr>
          <p:cNvSpPr/>
          <p:nvPr userDrawn="1"/>
        </p:nvSpPr>
        <p:spPr bwMode="gray">
          <a:xfrm>
            <a:off x="7273815" y="1515193"/>
            <a:ext cx="3735912" cy="3735912"/>
          </a:xfrm>
          <a:prstGeom prst="ellipse">
            <a:avLst/>
          </a:prstGeom>
          <a:solidFill>
            <a:schemeClr val="accent1"/>
          </a:solidFill>
          <a:ln w="76200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60325" lvl="0" algn="ctr">
              <a:spcAft>
                <a:spcPts val="800"/>
              </a:spcAft>
            </a:pPr>
            <a:endParaRPr lang="en-US" sz="1400" kern="0" dirty="0"/>
          </a:p>
        </p:txBody>
      </p:sp>
      <p:sp>
        <p:nvSpPr>
          <p:cNvPr id="18" name="Text Placeholder 862">
            <a:extLst>
              <a:ext uri="{FF2B5EF4-FFF2-40B4-BE49-F238E27FC236}">
                <a16:creationId xmlns:a16="http://schemas.microsoft.com/office/drawing/2014/main" id="{E56855D3-D3B3-4208-ADBF-9790190F0A6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8014" y="2514600"/>
            <a:ext cx="5485844" cy="1828799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3600"/>
            </a:lvl1pPr>
            <a:lvl2pPr marL="273050" indent="0"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0926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with Icon –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904AD3C8-5B0F-4AB1-B568-AA55FF64194A}"/>
              </a:ext>
            </a:extLst>
          </p:cNvPr>
          <p:cNvSpPr/>
          <p:nvPr userDrawn="1"/>
        </p:nvSpPr>
        <p:spPr>
          <a:xfrm>
            <a:off x="5379720" y="-52904"/>
            <a:ext cx="6809966" cy="6821367"/>
          </a:xfrm>
          <a:custGeom>
            <a:avLst/>
            <a:gdLst>
              <a:gd name="connsiteX0" fmla="*/ 6845677 w 6846538"/>
              <a:gd name="connsiteY0" fmla="*/ 4820854 h 6858000"/>
              <a:gd name="connsiteX1" fmla="*/ 4811938 w 6846538"/>
              <a:gd name="connsiteY1" fmla="*/ 6857998 h 6858000"/>
              <a:gd name="connsiteX2" fmla="*/ 6845677 w 6846538"/>
              <a:gd name="connsiteY2" fmla="*/ 6857998 h 6858000"/>
              <a:gd name="connsiteX3" fmla="*/ 6846538 w 6846538"/>
              <a:gd name="connsiteY3" fmla="*/ 0 h 6858000"/>
              <a:gd name="connsiteX4" fmla="*/ 6846538 w 6846538"/>
              <a:gd name="connsiteY4" fmla="*/ 6858000 h 6858000"/>
              <a:gd name="connsiteX5" fmla="*/ 0 w 684653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46538" h="6858000">
                <a:moveTo>
                  <a:pt x="6845677" y="4820854"/>
                </a:moveTo>
                <a:lnTo>
                  <a:pt x="4811938" y="6857998"/>
                </a:lnTo>
                <a:lnTo>
                  <a:pt x="6845677" y="6857998"/>
                </a:lnTo>
                <a:close/>
                <a:moveTo>
                  <a:pt x="6846538" y="0"/>
                </a:moveTo>
                <a:lnTo>
                  <a:pt x="6846538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bg1">
                  <a:alpha val="76000"/>
                </a:schemeClr>
              </a:gs>
              <a:gs pos="89000">
                <a:schemeClr val="tx1">
                  <a:lumMod val="16000"/>
                  <a:lumOff val="84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774" name="TextBox 773">
            <a:extLst>
              <a:ext uri="{FF2B5EF4-FFF2-40B4-BE49-F238E27FC236}">
                <a16:creationId xmlns:a16="http://schemas.microsoft.com/office/drawing/2014/main" id="{BC2C04F8-C4D0-4DA4-8689-3A3303F0660F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dirty="0">
              <a:latin typeface="+mj-lt"/>
            </a:endParaRPr>
          </a:p>
        </p:txBody>
      </p:sp>
      <p:sp>
        <p:nvSpPr>
          <p:cNvPr id="2147" name="Oval 2146">
            <a:extLst>
              <a:ext uri="{FF2B5EF4-FFF2-40B4-BE49-F238E27FC236}">
                <a16:creationId xmlns:a16="http://schemas.microsoft.com/office/drawing/2014/main" id="{FDDA58E5-A99B-48C0-A6B7-6BAE32E46F62}"/>
              </a:ext>
            </a:extLst>
          </p:cNvPr>
          <p:cNvSpPr/>
          <p:nvPr userDrawn="1"/>
        </p:nvSpPr>
        <p:spPr bwMode="gray">
          <a:xfrm rot="10800000">
            <a:off x="7273815" y="1515193"/>
            <a:ext cx="3735912" cy="3735912"/>
          </a:xfrm>
          <a:prstGeom prst="ellipse">
            <a:avLst/>
          </a:prstGeom>
          <a:solidFill>
            <a:schemeClr val="accent4"/>
          </a:solidFill>
          <a:ln w="76200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60325" lvl="0" algn="ctr">
              <a:spcAft>
                <a:spcPts val="800"/>
              </a:spcAft>
            </a:pPr>
            <a:endParaRPr lang="en-US" sz="1400" kern="0" dirty="0"/>
          </a:p>
        </p:txBody>
      </p:sp>
      <p:sp>
        <p:nvSpPr>
          <p:cNvPr id="18" name="Text Placeholder 862">
            <a:extLst>
              <a:ext uri="{FF2B5EF4-FFF2-40B4-BE49-F238E27FC236}">
                <a16:creationId xmlns:a16="http://schemas.microsoft.com/office/drawing/2014/main" id="{E56855D3-D3B3-4208-ADBF-9790190F0A6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8014" y="2514600"/>
            <a:ext cx="5485844" cy="1828799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3600"/>
            </a:lvl1pPr>
            <a:lvl2pPr marL="273050" indent="0"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312934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–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BCB68143-A247-4F5B-9173-3D82D6706BFE}"/>
              </a:ext>
            </a:extLst>
          </p:cNvPr>
          <p:cNvSpPr/>
          <p:nvPr userDrawn="1"/>
        </p:nvSpPr>
        <p:spPr>
          <a:xfrm rot="2700000">
            <a:off x="1530975" y="-2580079"/>
            <a:ext cx="3206987" cy="9623529"/>
          </a:xfrm>
          <a:custGeom>
            <a:avLst/>
            <a:gdLst>
              <a:gd name="connsiteX0" fmla="*/ 3621 w 3204432"/>
              <a:gd name="connsiteY0" fmla="*/ 3200811 h 9623529"/>
              <a:gd name="connsiteX1" fmla="*/ 3204432 w 3204432"/>
              <a:gd name="connsiteY1" fmla="*/ 0 h 9623529"/>
              <a:gd name="connsiteX2" fmla="*/ 3204432 w 3204432"/>
              <a:gd name="connsiteY2" fmla="*/ 8389488 h 9623529"/>
              <a:gd name="connsiteX3" fmla="*/ 3197162 w 3204432"/>
              <a:gd name="connsiteY3" fmla="*/ 8389488 h 9623529"/>
              <a:gd name="connsiteX4" fmla="*/ 3201565 w 3204432"/>
              <a:gd name="connsiteY4" fmla="*/ 8393890 h 9623529"/>
              <a:gd name="connsiteX5" fmla="*/ 1971926 w 3204432"/>
              <a:gd name="connsiteY5" fmla="*/ 9623529 h 9623529"/>
              <a:gd name="connsiteX6" fmla="*/ 0 w 3204432"/>
              <a:gd name="connsiteY6" fmla="*/ 7651603 h 9623529"/>
              <a:gd name="connsiteX7" fmla="*/ 3621 w 3204432"/>
              <a:gd name="connsiteY7" fmla="*/ 7647982 h 9623529"/>
              <a:gd name="connsiteX8" fmla="*/ 3621 w 3204432"/>
              <a:gd name="connsiteY8" fmla="*/ 3200811 h 9623529"/>
              <a:gd name="connsiteX0" fmla="*/ 3621 w 3206055"/>
              <a:gd name="connsiteY0" fmla="*/ 3200811 h 9623529"/>
              <a:gd name="connsiteX1" fmla="*/ 3204432 w 3206055"/>
              <a:gd name="connsiteY1" fmla="*/ 0 h 9623529"/>
              <a:gd name="connsiteX2" fmla="*/ 3204432 w 3206055"/>
              <a:gd name="connsiteY2" fmla="*/ 8389488 h 9623529"/>
              <a:gd name="connsiteX3" fmla="*/ 3197162 w 3206055"/>
              <a:gd name="connsiteY3" fmla="*/ 8389488 h 9623529"/>
              <a:gd name="connsiteX4" fmla="*/ 3206055 w 3206055"/>
              <a:gd name="connsiteY4" fmla="*/ 9386208 h 9623529"/>
              <a:gd name="connsiteX5" fmla="*/ 1971926 w 3206055"/>
              <a:gd name="connsiteY5" fmla="*/ 9623529 h 9623529"/>
              <a:gd name="connsiteX6" fmla="*/ 0 w 3206055"/>
              <a:gd name="connsiteY6" fmla="*/ 7651603 h 9623529"/>
              <a:gd name="connsiteX7" fmla="*/ 3621 w 3206055"/>
              <a:gd name="connsiteY7" fmla="*/ 7647982 h 9623529"/>
              <a:gd name="connsiteX8" fmla="*/ 3621 w 3206055"/>
              <a:gd name="connsiteY8" fmla="*/ 3200811 h 9623529"/>
              <a:gd name="connsiteX0" fmla="*/ 3621 w 3206987"/>
              <a:gd name="connsiteY0" fmla="*/ 3200811 h 9623529"/>
              <a:gd name="connsiteX1" fmla="*/ 3204432 w 3206987"/>
              <a:gd name="connsiteY1" fmla="*/ 0 h 9623529"/>
              <a:gd name="connsiteX2" fmla="*/ 3204432 w 3206987"/>
              <a:gd name="connsiteY2" fmla="*/ 8389488 h 9623529"/>
              <a:gd name="connsiteX3" fmla="*/ 3206142 w 3206987"/>
              <a:gd name="connsiteY3" fmla="*/ 8407448 h 9623529"/>
              <a:gd name="connsiteX4" fmla="*/ 3206055 w 3206987"/>
              <a:gd name="connsiteY4" fmla="*/ 9386208 h 9623529"/>
              <a:gd name="connsiteX5" fmla="*/ 1971926 w 3206987"/>
              <a:gd name="connsiteY5" fmla="*/ 9623529 h 9623529"/>
              <a:gd name="connsiteX6" fmla="*/ 0 w 3206987"/>
              <a:gd name="connsiteY6" fmla="*/ 7651603 h 9623529"/>
              <a:gd name="connsiteX7" fmla="*/ 3621 w 3206987"/>
              <a:gd name="connsiteY7" fmla="*/ 7647982 h 9623529"/>
              <a:gd name="connsiteX8" fmla="*/ 3621 w 3206987"/>
              <a:gd name="connsiteY8" fmla="*/ 3200811 h 96235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206987" h="9623529">
                <a:moveTo>
                  <a:pt x="3621" y="3200811"/>
                </a:moveTo>
                <a:lnTo>
                  <a:pt x="3204432" y="0"/>
                </a:lnTo>
                <a:lnTo>
                  <a:pt x="3204432" y="8389488"/>
                </a:lnTo>
                <a:lnTo>
                  <a:pt x="3206142" y="8407448"/>
                </a:lnTo>
                <a:cubicBezTo>
                  <a:pt x="3209106" y="8739688"/>
                  <a:pt x="3203091" y="9053968"/>
                  <a:pt x="3206055" y="9386208"/>
                </a:cubicBezTo>
                <a:lnTo>
                  <a:pt x="1971926" y="9623529"/>
                </a:lnTo>
                <a:lnTo>
                  <a:pt x="0" y="7651603"/>
                </a:lnTo>
                <a:lnTo>
                  <a:pt x="3621" y="7647982"/>
                </a:lnTo>
                <a:lnTo>
                  <a:pt x="3621" y="3200811"/>
                </a:lnTo>
                <a:close/>
              </a:path>
            </a:pathLst>
          </a:custGeom>
          <a:gradFill>
            <a:gsLst>
              <a:gs pos="24000">
                <a:schemeClr val="accent3"/>
              </a:gs>
              <a:gs pos="87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865D9BB8-44B7-4046-A859-7B01AD84E349}"/>
              </a:ext>
            </a:extLst>
          </p:cNvPr>
          <p:cNvSpPr/>
          <p:nvPr userDrawn="1"/>
        </p:nvSpPr>
        <p:spPr>
          <a:xfrm rot="2700000">
            <a:off x="1632126" y="1230939"/>
            <a:ext cx="3535790" cy="7514148"/>
          </a:xfrm>
          <a:custGeom>
            <a:avLst/>
            <a:gdLst>
              <a:gd name="connsiteX0" fmla="*/ 0 w 3535790"/>
              <a:gd name="connsiteY0" fmla="*/ 0 h 7514148"/>
              <a:gd name="connsiteX1" fmla="*/ 3535790 w 3535790"/>
              <a:gd name="connsiteY1" fmla="*/ 0 h 7514148"/>
              <a:gd name="connsiteX2" fmla="*/ 3535790 w 3535790"/>
              <a:gd name="connsiteY2" fmla="*/ 4642648 h 7514148"/>
              <a:gd name="connsiteX3" fmla="*/ 706090 w 3535790"/>
              <a:gd name="connsiteY3" fmla="*/ 7514148 h 7514148"/>
              <a:gd name="connsiteX4" fmla="*/ 0 w 3535790"/>
              <a:gd name="connsiteY4" fmla="*/ 6808058 h 7514148"/>
              <a:gd name="connsiteX5" fmla="*/ 0 w 3535790"/>
              <a:gd name="connsiteY5" fmla="*/ 0 h 75141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35790" h="7514148">
                <a:moveTo>
                  <a:pt x="0" y="0"/>
                </a:moveTo>
                <a:lnTo>
                  <a:pt x="3535790" y="0"/>
                </a:lnTo>
                <a:lnTo>
                  <a:pt x="3535790" y="4642648"/>
                </a:lnTo>
                <a:lnTo>
                  <a:pt x="706090" y="7514148"/>
                </a:lnTo>
                <a:lnTo>
                  <a:pt x="0" y="680805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143">
                <a:schemeClr val="bg1">
                  <a:alpha val="0"/>
                </a:schemeClr>
              </a:gs>
              <a:gs pos="14000">
                <a:schemeClr val="bg1">
                  <a:alpha val="0"/>
                </a:schemeClr>
              </a:gs>
              <a:gs pos="72000">
                <a:schemeClr val="accent1"/>
              </a:gs>
            </a:gsLst>
            <a:lin ang="4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92948" y="1582578"/>
            <a:ext cx="4996403" cy="1234440"/>
          </a:xfrm>
        </p:spPr>
        <p:txBody>
          <a:bodyPr wrap="square" anchor="b"/>
          <a:lstStyle>
            <a:lvl1pPr algn="l">
              <a:defRPr sz="4000" b="0"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8" name="Subtitle 2">
            <a:extLst>
              <a:ext uri="{FF2B5EF4-FFF2-40B4-BE49-F238E27FC236}">
                <a16:creationId xmlns:a16="http://schemas.microsoft.com/office/drawing/2014/main" id="{6EBAFA4D-7B92-4E38-8320-94F3BCA2E41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592948" y="2871216"/>
            <a:ext cx="5116452" cy="4164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EA43E1E-B208-4DC4-9D6A-01669D00DA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92948" y="4737425"/>
            <a:ext cx="3657600" cy="355601"/>
          </a:xfrm>
        </p:spPr>
        <p:txBody>
          <a:bodyPr anchor="b"/>
          <a:lstStyle>
            <a:lvl1pPr algn="l"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29" name="Text Placeholder 6">
            <a:extLst>
              <a:ext uri="{FF2B5EF4-FFF2-40B4-BE49-F238E27FC236}">
                <a16:creationId xmlns:a16="http://schemas.microsoft.com/office/drawing/2014/main" id="{2111BB8B-7B37-4FB4-B2CD-984FE1C6C5E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92948" y="5138745"/>
            <a:ext cx="3657600" cy="355601"/>
          </a:xfrm>
        </p:spPr>
        <p:txBody>
          <a:bodyPr/>
          <a:lstStyle>
            <a:lvl1pPr algn="l"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Role / Division at VMwa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68E7D54E-C753-48F7-AB43-C7A586277F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92948" y="5494345"/>
            <a:ext cx="3657600" cy="265176"/>
          </a:xfrm>
        </p:spPr>
        <p:txBody>
          <a:bodyPr/>
          <a:lstStyle>
            <a:lvl1pPr algn="l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71B1726-E7C5-4C32-A22F-BB8C0CA833E9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0AEE4566-BDD0-43EB-8593-753B4AFC53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CDDDBBBD-2B47-4F32-9507-B47217AD31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9A63A2EB-B414-427C-8975-27B69B276D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4AFD0B14-399F-447F-BBDD-FF049C867FA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0778A2AC-9D1D-4FDB-973A-47DEA98860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52873CFF-17A0-467C-B061-5E3FD5E92C7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C351EEF9-CE8C-4948-8867-FDC697419B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576FCBCF-AFA0-4D2E-AF64-919BFE9B44B8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fidential   </a:t>
            </a: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©2019 VMware, Inc.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3" name="Ink 2">
                <a:extLst>
                  <a:ext uri="{FF2B5EF4-FFF2-40B4-BE49-F238E27FC236}">
                    <a16:creationId xmlns:a16="http://schemas.microsoft.com/office/drawing/2014/main" id="{229416F8-1B20-4892-97FA-108F191A5885}"/>
                  </a:ext>
                </a:extLst>
              </p14:cNvPr>
              <p14:cNvContentPartPr/>
              <p14:nvPr userDrawn="1"/>
            </p14:nvContentPartPr>
            <p14:xfrm>
              <a:off x="9859593" y="4881179"/>
              <a:ext cx="240" cy="240"/>
            </p14:xfrm>
          </p:contentPart>
        </mc:Choice>
        <mc:Fallback xmlns="">
          <p:pic>
            <p:nvPicPr>
              <p:cNvPr id="3" name="Ink 2">
                <a:extLst>
                  <a:ext uri="{FF2B5EF4-FFF2-40B4-BE49-F238E27FC236}">
                    <a16:creationId xmlns:a16="http://schemas.microsoft.com/office/drawing/2014/main" id="{229416F8-1B20-4892-97FA-108F191A5885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9855513" y="4877099"/>
                <a:ext cx="7920" cy="79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995916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with Icon –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8E49745E-959E-424E-B5AD-B75ACA32BFE8}"/>
              </a:ext>
            </a:extLst>
          </p:cNvPr>
          <p:cNvSpPr/>
          <p:nvPr userDrawn="1"/>
        </p:nvSpPr>
        <p:spPr>
          <a:xfrm>
            <a:off x="5379720" y="-52904"/>
            <a:ext cx="6809966" cy="6821367"/>
          </a:xfrm>
          <a:custGeom>
            <a:avLst/>
            <a:gdLst>
              <a:gd name="connsiteX0" fmla="*/ 6845677 w 6846538"/>
              <a:gd name="connsiteY0" fmla="*/ 4820854 h 6858000"/>
              <a:gd name="connsiteX1" fmla="*/ 4811938 w 6846538"/>
              <a:gd name="connsiteY1" fmla="*/ 6857998 h 6858000"/>
              <a:gd name="connsiteX2" fmla="*/ 6845677 w 6846538"/>
              <a:gd name="connsiteY2" fmla="*/ 6857998 h 6858000"/>
              <a:gd name="connsiteX3" fmla="*/ 6846538 w 6846538"/>
              <a:gd name="connsiteY3" fmla="*/ 0 h 6858000"/>
              <a:gd name="connsiteX4" fmla="*/ 6846538 w 6846538"/>
              <a:gd name="connsiteY4" fmla="*/ 6858000 h 6858000"/>
              <a:gd name="connsiteX5" fmla="*/ 0 w 684653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46538" h="6858000">
                <a:moveTo>
                  <a:pt x="6845677" y="4820854"/>
                </a:moveTo>
                <a:lnTo>
                  <a:pt x="4811938" y="6857998"/>
                </a:lnTo>
                <a:lnTo>
                  <a:pt x="6845677" y="6857998"/>
                </a:lnTo>
                <a:close/>
                <a:moveTo>
                  <a:pt x="6846538" y="0"/>
                </a:moveTo>
                <a:lnTo>
                  <a:pt x="6846538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bg1">
                  <a:alpha val="76000"/>
                </a:schemeClr>
              </a:gs>
              <a:gs pos="89000">
                <a:schemeClr val="tx1">
                  <a:lumMod val="16000"/>
                  <a:lumOff val="84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774" name="TextBox 773">
            <a:extLst>
              <a:ext uri="{FF2B5EF4-FFF2-40B4-BE49-F238E27FC236}">
                <a16:creationId xmlns:a16="http://schemas.microsoft.com/office/drawing/2014/main" id="{BC2C04F8-C4D0-4DA4-8689-3A3303F0660F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dirty="0">
              <a:latin typeface="+mj-lt"/>
            </a:endParaRPr>
          </a:p>
        </p:txBody>
      </p:sp>
      <p:sp>
        <p:nvSpPr>
          <p:cNvPr id="2147" name="Oval 2146">
            <a:extLst>
              <a:ext uri="{FF2B5EF4-FFF2-40B4-BE49-F238E27FC236}">
                <a16:creationId xmlns:a16="http://schemas.microsoft.com/office/drawing/2014/main" id="{FDDA58E5-A99B-48C0-A6B7-6BAE32E46F62}"/>
              </a:ext>
            </a:extLst>
          </p:cNvPr>
          <p:cNvSpPr/>
          <p:nvPr userDrawn="1"/>
        </p:nvSpPr>
        <p:spPr bwMode="gray">
          <a:xfrm>
            <a:off x="7273815" y="1515193"/>
            <a:ext cx="3735912" cy="3735912"/>
          </a:xfrm>
          <a:prstGeom prst="ellipse">
            <a:avLst/>
          </a:prstGeom>
          <a:solidFill>
            <a:schemeClr val="accent5"/>
          </a:solidFill>
          <a:ln w="76200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60325" lvl="0" algn="ctr">
              <a:spcAft>
                <a:spcPts val="800"/>
              </a:spcAft>
            </a:pPr>
            <a:endParaRPr lang="en-US" sz="1400" kern="0" dirty="0"/>
          </a:p>
        </p:txBody>
      </p:sp>
      <p:sp>
        <p:nvSpPr>
          <p:cNvPr id="18" name="Text Placeholder 862">
            <a:extLst>
              <a:ext uri="{FF2B5EF4-FFF2-40B4-BE49-F238E27FC236}">
                <a16:creationId xmlns:a16="http://schemas.microsoft.com/office/drawing/2014/main" id="{E56855D3-D3B3-4208-ADBF-9790190F0A6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8014" y="2514600"/>
            <a:ext cx="5485844" cy="1828799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3600"/>
            </a:lvl1pPr>
            <a:lvl2pPr marL="273050" indent="0"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912768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5DD6E7D-B875-48DF-B6A8-450BD6AE171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785688" y="0"/>
            <a:ext cx="5403138" cy="6764798"/>
          </a:xfrm>
        </p:spPr>
        <p:txBody>
          <a:bodyPr lIns="640080" tIns="0" rIns="640080" anchor="ctr"/>
          <a:lstStyle>
            <a:lvl1pPr algn="ctr">
              <a:defRPr/>
            </a:lvl1pPr>
          </a:lstStyle>
          <a:p>
            <a:r>
              <a:rPr lang="en-US" dirty="0"/>
              <a:t>Click on the icon to insert a picture from your computer</a:t>
            </a:r>
          </a:p>
        </p:txBody>
      </p:sp>
      <p:sp>
        <p:nvSpPr>
          <p:cNvPr id="17" name="Text Placeholder 862">
            <a:extLst>
              <a:ext uri="{FF2B5EF4-FFF2-40B4-BE49-F238E27FC236}">
                <a16:creationId xmlns:a16="http://schemas.microsoft.com/office/drawing/2014/main" id="{C8F55BC8-3E55-49EB-BF20-18EB4F7F597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8014" y="2514600"/>
            <a:ext cx="5485844" cy="1828799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3600"/>
            </a:lvl1pPr>
            <a:lvl2pPr marL="273050" indent="0"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A6E1A1B-7C56-4DE3-BC90-B387C7F3E670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310822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ist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0F1D41E-848B-4178-A0D2-2A18C6921400}"/>
              </a:ext>
            </a:extLst>
          </p:cNvPr>
          <p:cNvSpPr/>
          <p:nvPr userDrawn="1"/>
        </p:nvSpPr>
        <p:spPr bwMode="hidden">
          <a:xfrm>
            <a:off x="0" y="0"/>
            <a:ext cx="12188822" cy="4332288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1ED419A-30D8-44AB-9256-156B54D449CD}"/>
              </a:ext>
            </a:extLst>
          </p:cNvPr>
          <p:cNvSpPr/>
          <p:nvPr userDrawn="1"/>
        </p:nvSpPr>
        <p:spPr bwMode="white">
          <a:xfrm>
            <a:off x="672527" y="722997"/>
            <a:ext cx="4470400" cy="4470400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E4BDA96F-134D-4855-8751-F1043ABF3B4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00" y="2514599"/>
            <a:ext cx="5027613" cy="1371601"/>
          </a:xfrm>
        </p:spPr>
        <p:txBody>
          <a:bodyPr anchor="ctr"/>
          <a:lstStyle>
            <a:lvl1pPr>
              <a:spcBef>
                <a:spcPts val="0"/>
              </a:spcBef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3" name="Chart Placeholder 22">
            <a:extLst>
              <a:ext uri="{FF2B5EF4-FFF2-40B4-BE49-F238E27FC236}">
                <a16:creationId xmlns:a16="http://schemas.microsoft.com/office/drawing/2014/main" id="{4093E53D-7586-4113-99BD-F45F1343692F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662672" y="722997"/>
            <a:ext cx="4480256" cy="448025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Click to insert a </a:t>
            </a:r>
            <a:br>
              <a:rPr lang="en-US" dirty="0"/>
            </a:br>
            <a:r>
              <a:rPr lang="en-US" dirty="0"/>
              <a:t>Doughnut char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C4F4198-4BE0-4282-8B86-20DED598DC1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8330" y="5507147"/>
            <a:ext cx="1371064" cy="423862"/>
          </a:xfrm>
        </p:spPr>
        <p:txBody>
          <a:bodyPr/>
          <a:lstStyle>
            <a:lvl1pPr algn="l">
              <a:defRPr sz="12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0" name="Text Placeholder 12">
            <a:extLst>
              <a:ext uri="{FF2B5EF4-FFF2-40B4-BE49-F238E27FC236}">
                <a16:creationId xmlns:a16="http://schemas.microsoft.com/office/drawing/2014/main" id="{4B5F4E67-F2E8-4777-B495-668C321DCBA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436416" y="5507147"/>
            <a:ext cx="1371064" cy="423862"/>
          </a:xfrm>
        </p:spPr>
        <p:txBody>
          <a:bodyPr/>
          <a:lstStyle>
            <a:lvl1pPr algn="l">
              <a:defRPr sz="12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1" name="Text Placeholder 12">
            <a:extLst>
              <a:ext uri="{FF2B5EF4-FFF2-40B4-BE49-F238E27FC236}">
                <a16:creationId xmlns:a16="http://schemas.microsoft.com/office/drawing/2014/main" id="{704846F3-64ED-4181-8AEC-68B9734DA96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261103" y="5507147"/>
            <a:ext cx="1371064" cy="423862"/>
          </a:xfrm>
        </p:spPr>
        <p:txBody>
          <a:bodyPr/>
          <a:lstStyle>
            <a:lvl1pPr algn="l">
              <a:defRPr sz="12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2" name="Text Placeholder 12">
            <a:extLst>
              <a:ext uri="{FF2B5EF4-FFF2-40B4-BE49-F238E27FC236}">
                <a16:creationId xmlns:a16="http://schemas.microsoft.com/office/drawing/2014/main" id="{DD17F439-D919-44B7-889F-96A1DAF172D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88109" y="5507147"/>
            <a:ext cx="1371064" cy="423862"/>
          </a:xfrm>
        </p:spPr>
        <p:txBody>
          <a:bodyPr/>
          <a:lstStyle>
            <a:lvl1pPr algn="l">
              <a:defRPr sz="1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3" name="Text Placeholder 12">
            <a:extLst>
              <a:ext uri="{FF2B5EF4-FFF2-40B4-BE49-F238E27FC236}">
                <a16:creationId xmlns:a16="http://schemas.microsoft.com/office/drawing/2014/main" id="{0DA74846-CC03-44FE-9AE5-4975E808F8A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920672" y="5507147"/>
            <a:ext cx="1371064" cy="423862"/>
          </a:xfrm>
        </p:spPr>
        <p:txBody>
          <a:bodyPr/>
          <a:lstStyle>
            <a:lvl1pPr algn="l"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4" name="Text Placeholder 12">
            <a:extLst>
              <a:ext uri="{FF2B5EF4-FFF2-40B4-BE49-F238E27FC236}">
                <a16:creationId xmlns:a16="http://schemas.microsoft.com/office/drawing/2014/main" id="{EB51A67B-FBDC-4AB8-B81A-6B6B96D04F4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750028" y="5507147"/>
            <a:ext cx="1371064" cy="423862"/>
          </a:xfrm>
        </p:spPr>
        <p:txBody>
          <a:bodyPr/>
          <a:lstStyle>
            <a:lvl1pPr algn="l">
              <a:defRPr sz="12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6C03ACE7-B591-43FD-A636-47D01F482F04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344289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55025D71-18A5-4A22-8386-917E1B08C46A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409995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/ 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A88A8ACB-CBE3-4DC0-BBE3-C6829C462CD7}"/>
              </a:ext>
            </a:extLst>
          </p:cNvPr>
          <p:cNvSpPr/>
          <p:nvPr userDrawn="1"/>
        </p:nvSpPr>
        <p:spPr>
          <a:xfrm rot="2700000">
            <a:off x="500103" y="-2250712"/>
            <a:ext cx="2891746" cy="8395793"/>
          </a:xfrm>
          <a:custGeom>
            <a:avLst/>
            <a:gdLst>
              <a:gd name="connsiteX0" fmla="*/ 0 w 2891746"/>
              <a:gd name="connsiteY0" fmla="*/ 2890035 h 8395793"/>
              <a:gd name="connsiteX1" fmla="*/ 1390389 w 2891746"/>
              <a:gd name="connsiteY1" fmla="*/ 1499646 h 8395793"/>
              <a:gd name="connsiteX2" fmla="*/ 1390389 w 2891746"/>
              <a:gd name="connsiteY2" fmla="*/ 1499646 h 8395793"/>
              <a:gd name="connsiteX3" fmla="*/ 2890036 w 2891746"/>
              <a:gd name="connsiteY3" fmla="*/ 0 h 8395793"/>
              <a:gd name="connsiteX4" fmla="*/ 2890036 w 2891746"/>
              <a:gd name="connsiteY4" fmla="*/ 8322767 h 8395793"/>
              <a:gd name="connsiteX5" fmla="*/ 2891746 w 2891746"/>
              <a:gd name="connsiteY5" fmla="*/ 8340727 h 8395793"/>
              <a:gd name="connsiteX6" fmla="*/ 2891741 w 2891746"/>
              <a:gd name="connsiteY6" fmla="*/ 8395793 h 8395793"/>
              <a:gd name="connsiteX7" fmla="*/ 2546313 w 2891746"/>
              <a:gd name="connsiteY7" fmla="*/ 8050365 h 8395793"/>
              <a:gd name="connsiteX8" fmla="*/ 2546315 w 2891746"/>
              <a:gd name="connsiteY8" fmla="*/ 8050364 h 8395793"/>
              <a:gd name="connsiteX9" fmla="*/ 0 w 2891746"/>
              <a:gd name="connsiteY9" fmla="*/ 5504049 h 83957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891746" h="8395793">
                <a:moveTo>
                  <a:pt x="0" y="2890035"/>
                </a:moveTo>
                <a:lnTo>
                  <a:pt x="1390389" y="1499646"/>
                </a:lnTo>
                <a:lnTo>
                  <a:pt x="1390389" y="1499646"/>
                </a:lnTo>
                <a:lnTo>
                  <a:pt x="2890036" y="0"/>
                </a:lnTo>
                <a:lnTo>
                  <a:pt x="2890036" y="8322767"/>
                </a:lnTo>
                <a:lnTo>
                  <a:pt x="2891746" y="8340727"/>
                </a:lnTo>
                <a:lnTo>
                  <a:pt x="2891741" y="8395793"/>
                </a:lnTo>
                <a:lnTo>
                  <a:pt x="2546313" y="8050365"/>
                </a:lnTo>
                <a:lnTo>
                  <a:pt x="2546315" y="8050364"/>
                </a:lnTo>
                <a:lnTo>
                  <a:pt x="0" y="5504049"/>
                </a:lnTo>
                <a:close/>
              </a:path>
            </a:pathLst>
          </a:custGeom>
          <a:gradFill>
            <a:gsLst>
              <a:gs pos="24000">
                <a:schemeClr val="accent4"/>
              </a:gs>
              <a:gs pos="100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5B87096-C8D7-45D0-8DCC-218276F547CC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tx1"/>
          </a:solidFill>
        </p:grpSpPr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FAC0FC71-A82A-4369-B44E-4E8FF53CA1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0D84D398-3251-432F-8986-05570D3BB8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07096BFD-803A-42D4-BA19-C683E35B0D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089E6840-6882-4279-A152-16C7CCB9BE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021DF59C-D6C9-4EC0-90A3-7752F6B722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E4C478B3-2ECE-440E-A04E-B8C84D0416E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2190CFD5-6EEA-46D1-AE5E-D69C2E08F3D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D479A9FB-8CEE-475F-BF22-3B0B11EB4E81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52F598B-F734-42BE-8CB8-5E3FDDD7ED52}"/>
              </a:ext>
            </a:extLst>
          </p:cNvPr>
          <p:cNvSpPr txBox="1"/>
          <p:nvPr userDrawn="1"/>
        </p:nvSpPr>
        <p:spPr>
          <a:xfrm>
            <a:off x="7122912" y="4133697"/>
            <a:ext cx="3585557" cy="69249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r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en-US" sz="5000" b="0" kern="1200" cap="none" baseline="0" dirty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t>Thank You</a:t>
            </a: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5B8D218C-9E1A-4E8B-A343-F3F3A628E78E}"/>
              </a:ext>
            </a:extLst>
          </p:cNvPr>
          <p:cNvSpPr/>
          <p:nvPr userDrawn="1"/>
        </p:nvSpPr>
        <p:spPr>
          <a:xfrm rot="18900000">
            <a:off x="-1253438" y="2913755"/>
            <a:ext cx="6372785" cy="905566"/>
          </a:xfrm>
          <a:custGeom>
            <a:avLst/>
            <a:gdLst>
              <a:gd name="connsiteX0" fmla="*/ 6372785 w 6372785"/>
              <a:gd name="connsiteY0" fmla="*/ 0 h 905566"/>
              <a:gd name="connsiteX1" fmla="*/ 6372785 w 6372785"/>
              <a:gd name="connsiteY1" fmla="*/ 905566 h 905566"/>
              <a:gd name="connsiteX2" fmla="*/ 0 w 6372785"/>
              <a:gd name="connsiteY2" fmla="*/ 905566 h 905566"/>
              <a:gd name="connsiteX3" fmla="*/ 905566 w 6372785"/>
              <a:gd name="connsiteY3" fmla="*/ 0 h 9055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72785" h="905566">
                <a:moveTo>
                  <a:pt x="6372785" y="0"/>
                </a:moveTo>
                <a:lnTo>
                  <a:pt x="6372785" y="905566"/>
                </a:lnTo>
                <a:lnTo>
                  <a:pt x="0" y="905566"/>
                </a:lnTo>
                <a:lnTo>
                  <a:pt x="905566" y="0"/>
                </a:lnTo>
                <a:close/>
              </a:path>
            </a:pathLst>
          </a:custGeom>
          <a:gradFill>
            <a:gsLst>
              <a:gs pos="94000">
                <a:schemeClr val="bg1"/>
              </a:gs>
              <a:gs pos="16000">
                <a:schemeClr val="accent4"/>
              </a:gs>
              <a:gs pos="76000">
                <a:schemeClr val="bg1">
                  <a:alpha val="91000"/>
                </a:schemeClr>
              </a:gs>
            </a:gsLst>
            <a:lin ang="7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6535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/ Closing –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171CD93A-658C-4473-839D-9C0B5E8F5F7C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CDFBF2D3-5C06-47C4-A81C-0305B322C5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464D7FA4-CABA-4E4E-ACCA-68953799CF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4EB1261E-CBF9-4479-A018-76C0F24D3B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8C4A243B-FBF5-4C04-8CD0-8E1C4721D9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F67E765D-8E8B-44F9-BE70-63FC0512FD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1B4614B4-F94A-4053-B179-EC5C3F70A9E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E157F005-56AC-4E75-8AA5-582D0D69E2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9473A8DE-DD1F-43EE-8FA2-4C689A038BA5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1594E1E-E234-471D-B539-F75E8CC06D07}"/>
              </a:ext>
            </a:extLst>
          </p:cNvPr>
          <p:cNvSpPr txBox="1"/>
          <p:nvPr userDrawn="1"/>
        </p:nvSpPr>
        <p:spPr>
          <a:xfrm>
            <a:off x="7122912" y="4133697"/>
            <a:ext cx="3585557" cy="69249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r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en-US" sz="5000" b="0" kern="1200" cap="none" baseline="0" dirty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t>Thank You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4C67E5CD-C662-462D-9821-CBF45A809F13}"/>
              </a:ext>
            </a:extLst>
          </p:cNvPr>
          <p:cNvSpPr/>
          <p:nvPr userDrawn="1"/>
        </p:nvSpPr>
        <p:spPr>
          <a:xfrm rot="2700000">
            <a:off x="500103" y="-2250712"/>
            <a:ext cx="2891746" cy="8395793"/>
          </a:xfrm>
          <a:custGeom>
            <a:avLst/>
            <a:gdLst>
              <a:gd name="connsiteX0" fmla="*/ 0 w 2891746"/>
              <a:gd name="connsiteY0" fmla="*/ 2890035 h 8395793"/>
              <a:gd name="connsiteX1" fmla="*/ 1390389 w 2891746"/>
              <a:gd name="connsiteY1" fmla="*/ 1499646 h 8395793"/>
              <a:gd name="connsiteX2" fmla="*/ 1390389 w 2891746"/>
              <a:gd name="connsiteY2" fmla="*/ 1499646 h 8395793"/>
              <a:gd name="connsiteX3" fmla="*/ 2890036 w 2891746"/>
              <a:gd name="connsiteY3" fmla="*/ 0 h 8395793"/>
              <a:gd name="connsiteX4" fmla="*/ 2890036 w 2891746"/>
              <a:gd name="connsiteY4" fmla="*/ 8322767 h 8395793"/>
              <a:gd name="connsiteX5" fmla="*/ 2891746 w 2891746"/>
              <a:gd name="connsiteY5" fmla="*/ 8340727 h 8395793"/>
              <a:gd name="connsiteX6" fmla="*/ 2891741 w 2891746"/>
              <a:gd name="connsiteY6" fmla="*/ 8395793 h 8395793"/>
              <a:gd name="connsiteX7" fmla="*/ 2546313 w 2891746"/>
              <a:gd name="connsiteY7" fmla="*/ 8050365 h 8395793"/>
              <a:gd name="connsiteX8" fmla="*/ 2546315 w 2891746"/>
              <a:gd name="connsiteY8" fmla="*/ 8050364 h 8395793"/>
              <a:gd name="connsiteX9" fmla="*/ 0 w 2891746"/>
              <a:gd name="connsiteY9" fmla="*/ 5504049 h 83957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891746" h="8395793">
                <a:moveTo>
                  <a:pt x="0" y="2890035"/>
                </a:moveTo>
                <a:lnTo>
                  <a:pt x="1390389" y="1499646"/>
                </a:lnTo>
                <a:lnTo>
                  <a:pt x="1390389" y="1499646"/>
                </a:lnTo>
                <a:lnTo>
                  <a:pt x="2890036" y="0"/>
                </a:lnTo>
                <a:lnTo>
                  <a:pt x="2890036" y="8322767"/>
                </a:lnTo>
                <a:lnTo>
                  <a:pt x="2891746" y="8340727"/>
                </a:lnTo>
                <a:lnTo>
                  <a:pt x="2891741" y="8395793"/>
                </a:lnTo>
                <a:lnTo>
                  <a:pt x="2546313" y="8050365"/>
                </a:lnTo>
                <a:lnTo>
                  <a:pt x="2546315" y="8050364"/>
                </a:lnTo>
                <a:lnTo>
                  <a:pt x="0" y="5504049"/>
                </a:lnTo>
                <a:close/>
              </a:path>
            </a:pathLst>
          </a:custGeom>
          <a:gradFill>
            <a:gsLst>
              <a:gs pos="24000">
                <a:srgbClr val="7F35AB"/>
              </a:gs>
              <a:gs pos="87000">
                <a:srgbClr val="264088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DBDC7692-DF81-49A0-9672-BF8E1DB9B662}"/>
              </a:ext>
            </a:extLst>
          </p:cNvPr>
          <p:cNvSpPr/>
          <p:nvPr userDrawn="1"/>
        </p:nvSpPr>
        <p:spPr>
          <a:xfrm rot="18900000">
            <a:off x="-1253438" y="2913755"/>
            <a:ext cx="6372785" cy="905566"/>
          </a:xfrm>
          <a:custGeom>
            <a:avLst/>
            <a:gdLst>
              <a:gd name="connsiteX0" fmla="*/ 6372785 w 6372785"/>
              <a:gd name="connsiteY0" fmla="*/ 0 h 905566"/>
              <a:gd name="connsiteX1" fmla="*/ 6372785 w 6372785"/>
              <a:gd name="connsiteY1" fmla="*/ 905566 h 905566"/>
              <a:gd name="connsiteX2" fmla="*/ 0 w 6372785"/>
              <a:gd name="connsiteY2" fmla="*/ 905566 h 905566"/>
              <a:gd name="connsiteX3" fmla="*/ 905566 w 6372785"/>
              <a:gd name="connsiteY3" fmla="*/ 0 h 9055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72785" h="905566">
                <a:moveTo>
                  <a:pt x="6372785" y="0"/>
                </a:moveTo>
                <a:lnTo>
                  <a:pt x="6372785" y="905566"/>
                </a:lnTo>
                <a:lnTo>
                  <a:pt x="0" y="905566"/>
                </a:lnTo>
                <a:lnTo>
                  <a:pt x="905566" y="0"/>
                </a:lnTo>
                <a:close/>
              </a:path>
            </a:pathLst>
          </a:custGeom>
          <a:gradFill>
            <a:gsLst>
              <a:gs pos="22000">
                <a:srgbClr val="7F35AB">
                  <a:alpha val="94000"/>
                </a:srgbClr>
              </a:gs>
              <a:gs pos="95000">
                <a:schemeClr val="bg1"/>
              </a:gs>
              <a:gs pos="77000">
                <a:schemeClr val="bg1">
                  <a:alpha val="79000"/>
                </a:schemeClr>
              </a:gs>
            </a:gsLst>
            <a:lin ang="8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6511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/ Closing –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35B1C875-AD13-4256-9E56-D2FCF94B81E1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E1B65455-CBDD-4B2B-8BB7-0D016422E2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AF202269-FCD9-4D84-82E7-4E6E4F5B7E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68585838-6A08-43B0-827A-D33942E82F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AAAE7B3A-0116-4C7F-85A1-4CDFE95B9B5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9CA84427-5217-43A1-9C71-25D9E1DFDD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A60ADC44-391E-4E50-A7BB-332F2C9E8B4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1DA390D7-F8F5-442A-8A17-9A9EB73BF94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C31C01D4-7C61-4B0F-8304-87A15AD01262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39F709C-1996-44DB-8C47-9CBD9243BF4E}"/>
              </a:ext>
            </a:extLst>
          </p:cNvPr>
          <p:cNvSpPr txBox="1"/>
          <p:nvPr userDrawn="1"/>
        </p:nvSpPr>
        <p:spPr>
          <a:xfrm>
            <a:off x="7122912" y="4133697"/>
            <a:ext cx="3585557" cy="69249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r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en-US" sz="5000" b="0" kern="1200" cap="none" baseline="0" dirty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t>Thank You</a:t>
            </a: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811A168A-1363-4430-87C6-83E5143B39F6}"/>
              </a:ext>
            </a:extLst>
          </p:cNvPr>
          <p:cNvSpPr/>
          <p:nvPr userDrawn="1"/>
        </p:nvSpPr>
        <p:spPr>
          <a:xfrm rot="2700000">
            <a:off x="500103" y="-2250712"/>
            <a:ext cx="2891746" cy="8395793"/>
          </a:xfrm>
          <a:custGeom>
            <a:avLst/>
            <a:gdLst>
              <a:gd name="connsiteX0" fmla="*/ 0 w 2891746"/>
              <a:gd name="connsiteY0" fmla="*/ 2890035 h 8395793"/>
              <a:gd name="connsiteX1" fmla="*/ 1390389 w 2891746"/>
              <a:gd name="connsiteY1" fmla="*/ 1499646 h 8395793"/>
              <a:gd name="connsiteX2" fmla="*/ 1390389 w 2891746"/>
              <a:gd name="connsiteY2" fmla="*/ 1499646 h 8395793"/>
              <a:gd name="connsiteX3" fmla="*/ 2890036 w 2891746"/>
              <a:gd name="connsiteY3" fmla="*/ 0 h 8395793"/>
              <a:gd name="connsiteX4" fmla="*/ 2890036 w 2891746"/>
              <a:gd name="connsiteY4" fmla="*/ 8322767 h 8395793"/>
              <a:gd name="connsiteX5" fmla="*/ 2891746 w 2891746"/>
              <a:gd name="connsiteY5" fmla="*/ 8340727 h 8395793"/>
              <a:gd name="connsiteX6" fmla="*/ 2891741 w 2891746"/>
              <a:gd name="connsiteY6" fmla="*/ 8395793 h 8395793"/>
              <a:gd name="connsiteX7" fmla="*/ 2546313 w 2891746"/>
              <a:gd name="connsiteY7" fmla="*/ 8050365 h 8395793"/>
              <a:gd name="connsiteX8" fmla="*/ 2546315 w 2891746"/>
              <a:gd name="connsiteY8" fmla="*/ 8050364 h 8395793"/>
              <a:gd name="connsiteX9" fmla="*/ 0 w 2891746"/>
              <a:gd name="connsiteY9" fmla="*/ 5504049 h 83957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891746" h="8395793">
                <a:moveTo>
                  <a:pt x="0" y="2890035"/>
                </a:moveTo>
                <a:lnTo>
                  <a:pt x="1390389" y="1499646"/>
                </a:lnTo>
                <a:lnTo>
                  <a:pt x="1390389" y="1499646"/>
                </a:lnTo>
                <a:lnTo>
                  <a:pt x="2890036" y="0"/>
                </a:lnTo>
                <a:lnTo>
                  <a:pt x="2890036" y="8322767"/>
                </a:lnTo>
                <a:lnTo>
                  <a:pt x="2891746" y="8340727"/>
                </a:lnTo>
                <a:lnTo>
                  <a:pt x="2891741" y="8395793"/>
                </a:lnTo>
                <a:lnTo>
                  <a:pt x="2546313" y="8050365"/>
                </a:lnTo>
                <a:lnTo>
                  <a:pt x="2546315" y="8050364"/>
                </a:lnTo>
                <a:lnTo>
                  <a:pt x="0" y="5504049"/>
                </a:lnTo>
                <a:close/>
              </a:path>
            </a:pathLst>
          </a:custGeom>
          <a:gradFill>
            <a:gsLst>
              <a:gs pos="24000">
                <a:schemeClr val="accent3"/>
              </a:gs>
              <a:gs pos="87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2C946B50-6B2C-4792-825B-BEFD24908723}"/>
              </a:ext>
            </a:extLst>
          </p:cNvPr>
          <p:cNvSpPr/>
          <p:nvPr userDrawn="1"/>
        </p:nvSpPr>
        <p:spPr>
          <a:xfrm rot="18900000">
            <a:off x="-1253438" y="2913755"/>
            <a:ext cx="6372785" cy="905566"/>
          </a:xfrm>
          <a:custGeom>
            <a:avLst/>
            <a:gdLst>
              <a:gd name="connsiteX0" fmla="*/ 6372785 w 6372785"/>
              <a:gd name="connsiteY0" fmla="*/ 0 h 905566"/>
              <a:gd name="connsiteX1" fmla="*/ 6372785 w 6372785"/>
              <a:gd name="connsiteY1" fmla="*/ 905566 h 905566"/>
              <a:gd name="connsiteX2" fmla="*/ 0 w 6372785"/>
              <a:gd name="connsiteY2" fmla="*/ 905566 h 905566"/>
              <a:gd name="connsiteX3" fmla="*/ 905566 w 6372785"/>
              <a:gd name="connsiteY3" fmla="*/ 0 h 9055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72785" h="905566">
                <a:moveTo>
                  <a:pt x="6372785" y="0"/>
                </a:moveTo>
                <a:lnTo>
                  <a:pt x="6372785" y="905566"/>
                </a:lnTo>
                <a:lnTo>
                  <a:pt x="0" y="905566"/>
                </a:lnTo>
                <a:lnTo>
                  <a:pt x="905566" y="0"/>
                </a:lnTo>
                <a:close/>
              </a:path>
            </a:pathLst>
          </a:custGeom>
          <a:gradFill>
            <a:gsLst>
              <a:gs pos="24000">
                <a:schemeClr val="accent3"/>
              </a:gs>
              <a:gs pos="80511">
                <a:schemeClr val="bg1">
                  <a:alpha val="76000"/>
                </a:schemeClr>
              </a:gs>
              <a:gs pos="100000">
                <a:schemeClr val="bg1"/>
              </a:gs>
            </a:gsLst>
            <a:lin ang="8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2283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nt Che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EA75217-7D87-4C71-8F80-833477FCB149}"/>
              </a:ext>
            </a:extLst>
          </p:cNvPr>
          <p:cNvSpPr/>
          <p:nvPr userDrawn="1"/>
        </p:nvSpPr>
        <p:spPr bwMode="hidden">
          <a:xfrm>
            <a:off x="0" y="0"/>
            <a:ext cx="12188825" cy="68580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49AC7DF-BFC1-4044-BB52-C9946AD8A327}"/>
              </a:ext>
            </a:extLst>
          </p:cNvPr>
          <p:cNvSpPr txBox="1">
            <a:spLocks/>
          </p:cNvSpPr>
          <p:nvPr userDrawn="1"/>
        </p:nvSpPr>
        <p:spPr>
          <a:xfrm>
            <a:off x="564569" y="366687"/>
            <a:ext cx="11001004" cy="7061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5000" dirty="0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3C12014-9EC5-4F8C-BD3D-B60E85EC9FFD}"/>
              </a:ext>
            </a:extLst>
          </p:cNvPr>
          <p:cNvSpPr txBox="1"/>
          <p:nvPr userDrawn="1"/>
        </p:nvSpPr>
        <p:spPr>
          <a:xfrm>
            <a:off x="620895" y="3906060"/>
            <a:ext cx="10962687" cy="23807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30000"/>
              </a:lnSpc>
            </a:pPr>
            <a:r>
              <a:rPr lang="en-US" sz="1800" dirty="0">
                <a:solidFill>
                  <a:schemeClr val="bg1"/>
                </a:solidFill>
              </a:rPr>
              <a:t>If yes, you are good to go!</a:t>
            </a:r>
          </a:p>
          <a:p>
            <a:pPr>
              <a:lnSpc>
                <a:spcPct val="130000"/>
              </a:lnSpc>
            </a:pPr>
            <a:r>
              <a:rPr lang="en-US" sz="1800" dirty="0">
                <a:solidFill>
                  <a:schemeClr val="bg1"/>
                </a:solidFill>
              </a:rPr>
              <a:t>If the answer is no, you do not have the Metropolis font installed.</a:t>
            </a:r>
          </a:p>
          <a:p>
            <a:pPr>
              <a:lnSpc>
                <a:spcPct val="130000"/>
              </a:lnSpc>
            </a:pPr>
            <a:endParaRPr lang="en-US" sz="180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dirty="0">
                <a:solidFill>
                  <a:schemeClr val="bg1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lick here</a:t>
            </a:r>
            <a:r>
              <a:rPr lang="en-US" sz="1800" dirty="0">
                <a:solidFill>
                  <a:schemeClr val="bg1"/>
                </a:solidFill>
              </a:rPr>
              <a:t> to download the font</a:t>
            </a:r>
            <a:r>
              <a:rPr lang="en-US" sz="1800" baseline="0" dirty="0">
                <a:solidFill>
                  <a:schemeClr val="bg1"/>
                </a:solidFill>
              </a:rPr>
              <a:t>.</a:t>
            </a:r>
          </a:p>
          <a:p>
            <a:pPr marL="400050" marR="0" lvl="0" indent="-227013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strike="noStrike" baseline="0" dirty="0">
                <a:solidFill>
                  <a:schemeClr val="bg1"/>
                </a:solidFill>
              </a:rPr>
              <a:t>Log in with SSO and select the Brand Assets tab in Brand Central</a:t>
            </a:r>
          </a:p>
          <a:p>
            <a:pPr>
              <a:lnSpc>
                <a:spcPct val="130000"/>
              </a:lnSpc>
            </a:pPr>
            <a:r>
              <a:rPr lang="en-US" sz="1800" dirty="0">
                <a:solidFill>
                  <a:schemeClr val="bg1"/>
                </a:solidFill>
              </a:rPr>
              <a:t>Need more information on how to install fonts? </a:t>
            </a:r>
            <a:br>
              <a:rPr lang="en-US" sz="1800" dirty="0">
                <a:solidFill>
                  <a:schemeClr val="bg1"/>
                </a:solidFill>
              </a:rPr>
            </a:br>
            <a:r>
              <a:rPr lang="en-US" sz="1800" dirty="0">
                <a:solidFill>
                  <a:schemeClr val="bg1"/>
                </a:solidFill>
              </a:rPr>
              <a:t>Refer to the quick-start section in the template guidelines or contact Oasis.</a:t>
            </a:r>
          </a:p>
          <a:p>
            <a:pPr>
              <a:lnSpc>
                <a:spcPct val="130000"/>
              </a:lnSpc>
            </a:pPr>
            <a:r>
              <a:rPr lang="en-US" sz="1800" dirty="0">
                <a:solidFill>
                  <a:schemeClr val="bg1"/>
                </a:solidFill>
              </a:rPr>
              <a:t> 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DDDC76C1-EE98-469A-A6AD-21148374D6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98114" y="2908233"/>
            <a:ext cx="5354637" cy="895350"/>
          </a:xfrm>
        </p:spPr>
        <p:txBody>
          <a:bodyPr/>
          <a:lstStyle>
            <a:lvl1pPr>
              <a:defRPr sz="4900">
                <a:solidFill>
                  <a:schemeClr val="bg1"/>
                </a:solidFill>
              </a:defRPr>
            </a:lvl1pPr>
            <a:lvl2pPr>
              <a:defRPr sz="3600">
                <a:solidFill>
                  <a:schemeClr val="bg1"/>
                </a:solidFill>
              </a:defRPr>
            </a:lvl2pPr>
            <a:lvl3pPr>
              <a:defRPr sz="32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etropolis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029BE03A-21B0-4196-A033-4E90957BA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z="2800" dirty="0">
                <a:solidFill>
                  <a:schemeClr val="bg1"/>
                </a:solidFill>
              </a:rPr>
              <a:t>Metropolis Font Check</a:t>
            </a:r>
          </a:p>
        </p:txBody>
      </p:sp>
      <p:sp>
        <p:nvSpPr>
          <p:cNvPr id="51" name="Subtitle 2">
            <a:extLst>
              <a:ext uri="{FF2B5EF4-FFF2-40B4-BE49-F238E27FC236}">
                <a16:creationId xmlns:a16="http://schemas.microsoft.com/office/drawing/2014/main" id="{CB049186-CC25-4BD3-8410-4DE62ED4B08B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38105"/>
            <a:ext cx="10962687" cy="247743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Is the Metropolis font installed on my computer?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51A92F24-FC82-4FA9-9362-801284731CC8}"/>
              </a:ext>
            </a:extLst>
          </p:cNvPr>
          <p:cNvSpPr/>
          <p:nvPr userDrawn="1"/>
        </p:nvSpPr>
        <p:spPr bwMode="gray">
          <a:xfrm>
            <a:off x="623363" y="1616678"/>
            <a:ext cx="4633737" cy="2441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100" dirty="0">
                <a:solidFill>
                  <a:schemeClr val="bg1"/>
                </a:solidFill>
              </a:rPr>
              <a:t>Do the fonts in the words below match on your screen?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B59E37DB-3217-4772-AE8E-E9673A139975}"/>
              </a:ext>
            </a:extLst>
          </p:cNvPr>
          <p:cNvCxnSpPr>
            <a:cxnSpLocks/>
          </p:cNvCxnSpPr>
          <p:nvPr userDrawn="1"/>
        </p:nvCxnSpPr>
        <p:spPr>
          <a:xfrm>
            <a:off x="623364" y="1860778"/>
            <a:ext cx="7299849" cy="0"/>
          </a:xfrm>
          <a:prstGeom prst="line">
            <a:avLst/>
          </a:prstGeom>
          <a:ln w="25400">
            <a:solidFill>
              <a:schemeClr val="bg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 Placeholder 43">
            <a:extLst>
              <a:ext uri="{FF2B5EF4-FFF2-40B4-BE49-F238E27FC236}">
                <a16:creationId xmlns:a16="http://schemas.microsoft.com/office/drawing/2014/main" id="{6C28CB3F-7257-499E-B2F6-B9B1B38D82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83683" y="2908233"/>
            <a:ext cx="5354637" cy="895350"/>
          </a:xfrm>
        </p:spPr>
        <p:txBody>
          <a:bodyPr/>
          <a:lstStyle>
            <a:lvl1pPr>
              <a:defRPr sz="4900">
                <a:solidFill>
                  <a:schemeClr val="bg1"/>
                </a:solidFill>
                <a:latin typeface="+mj-lt"/>
              </a:defRPr>
            </a:lvl1pPr>
            <a:lvl2pPr>
              <a:defRPr sz="3600">
                <a:solidFill>
                  <a:schemeClr val="bg1"/>
                </a:solidFill>
              </a:defRPr>
            </a:lvl2pPr>
            <a:lvl3pPr>
              <a:defRPr sz="32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etropolis Light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365F6992-4889-4035-986F-E69979C7B028}"/>
              </a:ext>
            </a:extLst>
          </p:cNvPr>
          <p:cNvGrpSpPr/>
          <p:nvPr userDrawn="1"/>
        </p:nvGrpSpPr>
        <p:grpSpPr>
          <a:xfrm>
            <a:off x="6054922" y="2225997"/>
            <a:ext cx="4699461" cy="542276"/>
            <a:chOff x="6685343" y="2270804"/>
            <a:chExt cx="4699461" cy="542276"/>
          </a:xfrm>
          <a:solidFill>
            <a:schemeClr val="bg1"/>
          </a:solidFill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157C5E2C-9A8F-469D-810E-FD271477DD05}"/>
                </a:ext>
              </a:extLst>
            </p:cNvPr>
            <p:cNvSpPr/>
            <p:nvPr/>
          </p:nvSpPr>
          <p:spPr>
            <a:xfrm>
              <a:off x="9320530" y="2270804"/>
              <a:ext cx="53167" cy="53167"/>
            </a:xfrm>
            <a:custGeom>
              <a:avLst/>
              <a:gdLst/>
              <a:ahLst/>
              <a:cxnLst/>
              <a:rect l="l" t="t" r="r" b="b"/>
              <a:pathLst>
                <a:path w="53167" h="53167">
                  <a:moveTo>
                    <a:pt x="26583" y="0"/>
                  </a:moveTo>
                  <a:cubicBezTo>
                    <a:pt x="34183" y="219"/>
                    <a:pt x="40467" y="2872"/>
                    <a:pt x="45439" y="7959"/>
                  </a:cubicBezTo>
                  <a:cubicBezTo>
                    <a:pt x="50411" y="13047"/>
                    <a:pt x="52987" y="19255"/>
                    <a:pt x="53167" y="26583"/>
                  </a:cubicBezTo>
                  <a:cubicBezTo>
                    <a:pt x="52987" y="34182"/>
                    <a:pt x="50411" y="40468"/>
                    <a:pt x="45439" y="45439"/>
                  </a:cubicBezTo>
                  <a:cubicBezTo>
                    <a:pt x="40467" y="50411"/>
                    <a:pt x="34183" y="52987"/>
                    <a:pt x="26583" y="53167"/>
                  </a:cubicBezTo>
                  <a:cubicBezTo>
                    <a:pt x="18985" y="52987"/>
                    <a:pt x="12699" y="50411"/>
                    <a:pt x="7727" y="45439"/>
                  </a:cubicBezTo>
                  <a:cubicBezTo>
                    <a:pt x="2756" y="40468"/>
                    <a:pt x="180" y="34182"/>
                    <a:pt x="0" y="26583"/>
                  </a:cubicBezTo>
                  <a:cubicBezTo>
                    <a:pt x="180" y="19255"/>
                    <a:pt x="2756" y="13047"/>
                    <a:pt x="7727" y="7959"/>
                  </a:cubicBezTo>
                  <a:cubicBezTo>
                    <a:pt x="12699" y="2872"/>
                    <a:pt x="18985" y="219"/>
                    <a:pt x="26583" y="0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16D8268-B556-4A2E-A24F-2098FB05E4CA}"/>
                </a:ext>
              </a:extLst>
            </p:cNvPr>
            <p:cNvSpPr/>
            <p:nvPr/>
          </p:nvSpPr>
          <p:spPr>
            <a:xfrm>
              <a:off x="10320655" y="2270804"/>
              <a:ext cx="53167" cy="53167"/>
            </a:xfrm>
            <a:custGeom>
              <a:avLst/>
              <a:gdLst/>
              <a:ahLst/>
              <a:cxnLst/>
              <a:rect l="l" t="t" r="r" b="b"/>
              <a:pathLst>
                <a:path w="53167" h="53167">
                  <a:moveTo>
                    <a:pt x="26583" y="0"/>
                  </a:moveTo>
                  <a:cubicBezTo>
                    <a:pt x="34182" y="219"/>
                    <a:pt x="40468" y="2872"/>
                    <a:pt x="45439" y="7959"/>
                  </a:cubicBezTo>
                  <a:cubicBezTo>
                    <a:pt x="50411" y="13047"/>
                    <a:pt x="52986" y="19255"/>
                    <a:pt x="53167" y="26583"/>
                  </a:cubicBezTo>
                  <a:cubicBezTo>
                    <a:pt x="52986" y="34182"/>
                    <a:pt x="50411" y="40468"/>
                    <a:pt x="45439" y="45439"/>
                  </a:cubicBezTo>
                  <a:cubicBezTo>
                    <a:pt x="40468" y="50411"/>
                    <a:pt x="34182" y="52987"/>
                    <a:pt x="26583" y="53167"/>
                  </a:cubicBezTo>
                  <a:cubicBezTo>
                    <a:pt x="18984" y="52987"/>
                    <a:pt x="12699" y="50411"/>
                    <a:pt x="7727" y="45439"/>
                  </a:cubicBezTo>
                  <a:cubicBezTo>
                    <a:pt x="2756" y="40468"/>
                    <a:pt x="180" y="34182"/>
                    <a:pt x="0" y="26583"/>
                  </a:cubicBezTo>
                  <a:cubicBezTo>
                    <a:pt x="180" y="19255"/>
                    <a:pt x="2756" y="13047"/>
                    <a:pt x="7727" y="7959"/>
                  </a:cubicBezTo>
                  <a:cubicBezTo>
                    <a:pt x="12699" y="2872"/>
                    <a:pt x="18984" y="219"/>
                    <a:pt x="26583" y="0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54C27A0-5E49-4C0A-B9A5-777E28510D88}"/>
                </a:ext>
              </a:extLst>
            </p:cNvPr>
            <p:cNvSpPr/>
            <p:nvPr/>
          </p:nvSpPr>
          <p:spPr>
            <a:xfrm>
              <a:off x="9176178" y="2273899"/>
              <a:ext cx="38309" cy="432691"/>
            </a:xfrm>
            <a:custGeom>
              <a:avLst/>
              <a:gdLst/>
              <a:ahLst/>
              <a:cxnLst/>
              <a:rect l="l" t="t" r="r" b="b"/>
              <a:pathLst>
                <a:path w="38309" h="432691">
                  <a:moveTo>
                    <a:pt x="0" y="0"/>
                  </a:moveTo>
                  <a:lnTo>
                    <a:pt x="38309" y="0"/>
                  </a:lnTo>
                  <a:lnTo>
                    <a:pt x="38309" y="432691"/>
                  </a:lnTo>
                  <a:lnTo>
                    <a:pt x="0" y="43269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B6DC2D46-24E8-497A-AE7E-3F29CF07D0E0}"/>
                </a:ext>
              </a:extLst>
            </p:cNvPr>
            <p:cNvSpPr/>
            <p:nvPr/>
          </p:nvSpPr>
          <p:spPr>
            <a:xfrm>
              <a:off x="10871628" y="2273899"/>
              <a:ext cx="263051" cy="432691"/>
            </a:xfrm>
            <a:custGeom>
              <a:avLst/>
              <a:gdLst/>
              <a:ahLst/>
              <a:cxnLst/>
              <a:rect l="l" t="t" r="r" b="b"/>
              <a:pathLst>
                <a:path w="263051" h="432691">
                  <a:moveTo>
                    <a:pt x="0" y="0"/>
                  </a:moveTo>
                  <a:lnTo>
                    <a:pt x="38309" y="0"/>
                  </a:lnTo>
                  <a:lnTo>
                    <a:pt x="38309" y="164610"/>
                  </a:lnTo>
                  <a:cubicBezTo>
                    <a:pt x="47303" y="146708"/>
                    <a:pt x="61058" y="132407"/>
                    <a:pt x="79575" y="121706"/>
                  </a:cubicBezTo>
                  <a:cubicBezTo>
                    <a:pt x="98091" y="111006"/>
                    <a:pt x="119435" y="105521"/>
                    <a:pt x="143603" y="105252"/>
                  </a:cubicBezTo>
                  <a:cubicBezTo>
                    <a:pt x="179471" y="105803"/>
                    <a:pt x="208206" y="117063"/>
                    <a:pt x="229805" y="139033"/>
                  </a:cubicBezTo>
                  <a:cubicBezTo>
                    <a:pt x="251405" y="161002"/>
                    <a:pt x="262487" y="190372"/>
                    <a:pt x="263051" y="227142"/>
                  </a:cubicBezTo>
                  <a:lnTo>
                    <a:pt x="263051" y="432691"/>
                  </a:lnTo>
                  <a:lnTo>
                    <a:pt x="224743" y="432691"/>
                  </a:lnTo>
                  <a:lnTo>
                    <a:pt x="224743" y="232095"/>
                  </a:lnTo>
                  <a:cubicBezTo>
                    <a:pt x="224343" y="204441"/>
                    <a:pt x="216316" y="182359"/>
                    <a:pt x="200663" y="165849"/>
                  </a:cubicBezTo>
                  <a:cubicBezTo>
                    <a:pt x="185011" y="149339"/>
                    <a:pt x="164133" y="140877"/>
                    <a:pt x="138029" y="140464"/>
                  </a:cubicBezTo>
                  <a:cubicBezTo>
                    <a:pt x="109215" y="141019"/>
                    <a:pt x="85549" y="149506"/>
                    <a:pt x="67032" y="165926"/>
                  </a:cubicBezTo>
                  <a:cubicBezTo>
                    <a:pt x="48515" y="182346"/>
                    <a:pt x="38941" y="203370"/>
                    <a:pt x="38309" y="228999"/>
                  </a:cubicBezTo>
                  <a:lnTo>
                    <a:pt x="38309" y="432691"/>
                  </a:lnTo>
                  <a:lnTo>
                    <a:pt x="0" y="43269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0B6A4DE9-31A3-428E-B420-424F68D79E41}"/>
                </a:ext>
              </a:extLst>
            </p:cNvPr>
            <p:cNvSpPr/>
            <p:nvPr/>
          </p:nvSpPr>
          <p:spPr>
            <a:xfrm>
              <a:off x="6685343" y="2281329"/>
              <a:ext cx="403593" cy="425261"/>
            </a:xfrm>
            <a:custGeom>
              <a:avLst/>
              <a:gdLst/>
              <a:ahLst/>
              <a:cxnLst/>
              <a:rect l="l" t="t" r="r" b="b"/>
              <a:pathLst>
                <a:path w="403593" h="425261">
                  <a:moveTo>
                    <a:pt x="0" y="0"/>
                  </a:moveTo>
                  <a:lnTo>
                    <a:pt x="39547" y="0"/>
                  </a:lnTo>
                  <a:lnTo>
                    <a:pt x="201797" y="304554"/>
                  </a:lnTo>
                  <a:lnTo>
                    <a:pt x="364046" y="0"/>
                  </a:lnTo>
                  <a:lnTo>
                    <a:pt x="403593" y="0"/>
                  </a:lnTo>
                  <a:lnTo>
                    <a:pt x="403593" y="425261"/>
                  </a:lnTo>
                  <a:lnTo>
                    <a:pt x="364046" y="425261"/>
                  </a:lnTo>
                  <a:lnTo>
                    <a:pt x="364046" y="84186"/>
                  </a:lnTo>
                  <a:lnTo>
                    <a:pt x="201797" y="388740"/>
                  </a:lnTo>
                  <a:lnTo>
                    <a:pt x="39547" y="84186"/>
                  </a:lnTo>
                  <a:lnTo>
                    <a:pt x="39547" y="425261"/>
                  </a:lnTo>
                  <a:lnTo>
                    <a:pt x="0" y="42526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9221A60B-A1D2-4D5F-ADCD-2B3BF1989BD1}"/>
                </a:ext>
              </a:extLst>
            </p:cNvPr>
            <p:cNvSpPr/>
            <p:nvPr/>
          </p:nvSpPr>
          <p:spPr>
            <a:xfrm>
              <a:off x="9980992" y="2281329"/>
              <a:ext cx="276052" cy="425261"/>
            </a:xfrm>
            <a:custGeom>
              <a:avLst/>
              <a:gdLst/>
              <a:ahLst/>
              <a:cxnLst/>
              <a:rect l="l" t="t" r="r" b="b"/>
              <a:pathLst>
                <a:path w="276052" h="425261">
                  <a:moveTo>
                    <a:pt x="0" y="0"/>
                  </a:moveTo>
                  <a:lnTo>
                    <a:pt x="39547" y="0"/>
                  </a:lnTo>
                  <a:lnTo>
                    <a:pt x="39547" y="387572"/>
                  </a:lnTo>
                  <a:lnTo>
                    <a:pt x="276052" y="387572"/>
                  </a:lnTo>
                  <a:lnTo>
                    <a:pt x="276052" y="425261"/>
                  </a:lnTo>
                  <a:lnTo>
                    <a:pt x="0" y="42526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BB738972-CA48-44E6-B7DD-E4E8B81F3D9E}"/>
                </a:ext>
              </a:extLst>
            </p:cNvPr>
            <p:cNvSpPr/>
            <p:nvPr/>
          </p:nvSpPr>
          <p:spPr>
            <a:xfrm>
              <a:off x="7532020" y="2298664"/>
              <a:ext cx="185660" cy="415356"/>
            </a:xfrm>
            <a:custGeom>
              <a:avLst/>
              <a:gdLst/>
              <a:ahLst/>
              <a:cxnLst/>
              <a:rect l="l" t="t" r="r" b="b"/>
              <a:pathLst>
                <a:path w="185660" h="415356">
                  <a:moveTo>
                    <a:pt x="52006" y="0"/>
                  </a:moveTo>
                  <a:lnTo>
                    <a:pt x="90314" y="0"/>
                  </a:lnTo>
                  <a:lnTo>
                    <a:pt x="90314" y="87916"/>
                  </a:lnTo>
                  <a:lnTo>
                    <a:pt x="170801" y="87916"/>
                  </a:lnTo>
                  <a:lnTo>
                    <a:pt x="170801" y="123129"/>
                  </a:lnTo>
                  <a:lnTo>
                    <a:pt x="90314" y="123129"/>
                  </a:lnTo>
                  <a:lnTo>
                    <a:pt x="90314" y="333695"/>
                  </a:lnTo>
                  <a:cubicBezTo>
                    <a:pt x="90598" y="347552"/>
                    <a:pt x="94365" y="358699"/>
                    <a:pt x="101613" y="367138"/>
                  </a:cubicBezTo>
                  <a:cubicBezTo>
                    <a:pt x="108862" y="375576"/>
                    <a:pt x="117891" y="379911"/>
                    <a:pt x="128700" y="380143"/>
                  </a:cubicBezTo>
                  <a:cubicBezTo>
                    <a:pt x="136207" y="380079"/>
                    <a:pt x="143172" y="378814"/>
                    <a:pt x="149596" y="376350"/>
                  </a:cubicBezTo>
                  <a:cubicBezTo>
                    <a:pt x="156019" y="373886"/>
                    <a:pt x="161436" y="370608"/>
                    <a:pt x="165848" y="366518"/>
                  </a:cubicBezTo>
                  <a:lnTo>
                    <a:pt x="185660" y="394970"/>
                  </a:lnTo>
                  <a:cubicBezTo>
                    <a:pt x="177185" y="401495"/>
                    <a:pt x="167821" y="406514"/>
                    <a:pt x="157567" y="410028"/>
                  </a:cubicBezTo>
                  <a:cubicBezTo>
                    <a:pt x="147313" y="413541"/>
                    <a:pt x="136865" y="415317"/>
                    <a:pt x="126224" y="415356"/>
                  </a:cubicBezTo>
                  <a:cubicBezTo>
                    <a:pt x="104177" y="414934"/>
                    <a:pt x="86392" y="407284"/>
                    <a:pt x="72869" y="392407"/>
                  </a:cubicBezTo>
                  <a:cubicBezTo>
                    <a:pt x="59345" y="377530"/>
                    <a:pt x="52391" y="357959"/>
                    <a:pt x="52006" y="333695"/>
                  </a:cubicBezTo>
                  <a:lnTo>
                    <a:pt x="52006" y="123129"/>
                  </a:lnTo>
                  <a:lnTo>
                    <a:pt x="0" y="123129"/>
                  </a:lnTo>
                  <a:lnTo>
                    <a:pt x="0" y="87916"/>
                  </a:lnTo>
                  <a:lnTo>
                    <a:pt x="52006" y="87916"/>
                  </a:lnTo>
                  <a:lnTo>
                    <a:pt x="52006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C0E3A6F-0249-4454-864B-04BF720A73B8}"/>
                </a:ext>
              </a:extLst>
            </p:cNvPr>
            <p:cNvSpPr/>
            <p:nvPr/>
          </p:nvSpPr>
          <p:spPr>
            <a:xfrm>
              <a:off x="11199144" y="2298664"/>
              <a:ext cx="185660" cy="415356"/>
            </a:xfrm>
            <a:custGeom>
              <a:avLst/>
              <a:gdLst/>
              <a:ahLst/>
              <a:cxnLst/>
              <a:rect l="l" t="t" r="r" b="b"/>
              <a:pathLst>
                <a:path w="185660" h="415356">
                  <a:moveTo>
                    <a:pt x="52006" y="0"/>
                  </a:moveTo>
                  <a:lnTo>
                    <a:pt x="90315" y="0"/>
                  </a:lnTo>
                  <a:lnTo>
                    <a:pt x="90315" y="87916"/>
                  </a:lnTo>
                  <a:lnTo>
                    <a:pt x="170802" y="87916"/>
                  </a:lnTo>
                  <a:lnTo>
                    <a:pt x="170802" y="123129"/>
                  </a:lnTo>
                  <a:lnTo>
                    <a:pt x="90315" y="123129"/>
                  </a:lnTo>
                  <a:lnTo>
                    <a:pt x="90315" y="333695"/>
                  </a:lnTo>
                  <a:cubicBezTo>
                    <a:pt x="90599" y="347552"/>
                    <a:pt x="94366" y="358699"/>
                    <a:pt x="101614" y="367138"/>
                  </a:cubicBezTo>
                  <a:cubicBezTo>
                    <a:pt x="108863" y="375576"/>
                    <a:pt x="117892" y="379911"/>
                    <a:pt x="128701" y="380143"/>
                  </a:cubicBezTo>
                  <a:cubicBezTo>
                    <a:pt x="136208" y="380079"/>
                    <a:pt x="143173" y="378814"/>
                    <a:pt x="149596" y="376350"/>
                  </a:cubicBezTo>
                  <a:cubicBezTo>
                    <a:pt x="156020" y="373886"/>
                    <a:pt x="161437" y="370608"/>
                    <a:pt x="165848" y="366518"/>
                  </a:cubicBezTo>
                  <a:lnTo>
                    <a:pt x="185660" y="394970"/>
                  </a:lnTo>
                  <a:cubicBezTo>
                    <a:pt x="177186" y="401495"/>
                    <a:pt x="167822" y="406514"/>
                    <a:pt x="157568" y="410028"/>
                  </a:cubicBezTo>
                  <a:cubicBezTo>
                    <a:pt x="147314" y="413541"/>
                    <a:pt x="136866" y="415317"/>
                    <a:pt x="126224" y="415356"/>
                  </a:cubicBezTo>
                  <a:cubicBezTo>
                    <a:pt x="104178" y="414934"/>
                    <a:pt x="86393" y="407284"/>
                    <a:pt x="72870" y="392407"/>
                  </a:cubicBezTo>
                  <a:cubicBezTo>
                    <a:pt x="59346" y="377530"/>
                    <a:pt x="52392" y="357959"/>
                    <a:pt x="52006" y="333695"/>
                  </a:cubicBezTo>
                  <a:lnTo>
                    <a:pt x="52006" y="123129"/>
                  </a:lnTo>
                  <a:lnTo>
                    <a:pt x="0" y="123129"/>
                  </a:lnTo>
                  <a:lnTo>
                    <a:pt x="0" y="87916"/>
                  </a:lnTo>
                  <a:lnTo>
                    <a:pt x="52006" y="87916"/>
                  </a:lnTo>
                  <a:lnTo>
                    <a:pt x="52006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BD5D52F-83DC-4C29-BFF9-C29AC76D694C}"/>
                </a:ext>
              </a:extLst>
            </p:cNvPr>
            <p:cNvSpPr/>
            <p:nvPr/>
          </p:nvSpPr>
          <p:spPr>
            <a:xfrm>
              <a:off x="7184309" y="2379151"/>
              <a:ext cx="309486" cy="334869"/>
            </a:xfrm>
            <a:custGeom>
              <a:avLst/>
              <a:gdLst/>
              <a:ahLst/>
              <a:cxnLst/>
              <a:rect l="l" t="t" r="r" b="b"/>
              <a:pathLst>
                <a:path w="309486" h="334869">
                  <a:moveTo>
                    <a:pt x="157840" y="0"/>
                  </a:moveTo>
                  <a:cubicBezTo>
                    <a:pt x="205615" y="720"/>
                    <a:pt x="242734" y="17376"/>
                    <a:pt x="269197" y="49965"/>
                  </a:cubicBezTo>
                  <a:cubicBezTo>
                    <a:pt x="295660" y="82555"/>
                    <a:pt x="309089" y="126754"/>
                    <a:pt x="309486" y="182564"/>
                  </a:cubicBezTo>
                  <a:lnTo>
                    <a:pt x="38928" y="182564"/>
                  </a:lnTo>
                  <a:cubicBezTo>
                    <a:pt x="42863" y="216445"/>
                    <a:pt x="55740" y="244247"/>
                    <a:pt x="77559" y="265969"/>
                  </a:cubicBezTo>
                  <a:cubicBezTo>
                    <a:pt x="99377" y="287692"/>
                    <a:pt x="126963" y="298921"/>
                    <a:pt x="160317" y="299656"/>
                  </a:cubicBezTo>
                  <a:cubicBezTo>
                    <a:pt x="181013" y="299488"/>
                    <a:pt x="201090" y="295797"/>
                    <a:pt x="220547" y="288582"/>
                  </a:cubicBezTo>
                  <a:cubicBezTo>
                    <a:pt x="240005" y="281367"/>
                    <a:pt x="255436" y="271635"/>
                    <a:pt x="266842" y="259387"/>
                  </a:cubicBezTo>
                  <a:lnTo>
                    <a:pt x="290950" y="285407"/>
                  </a:lnTo>
                  <a:cubicBezTo>
                    <a:pt x="276534" y="300459"/>
                    <a:pt x="257271" y="312414"/>
                    <a:pt x="233160" y="321273"/>
                  </a:cubicBezTo>
                  <a:cubicBezTo>
                    <a:pt x="209050" y="330132"/>
                    <a:pt x="184975" y="334664"/>
                    <a:pt x="160937" y="334869"/>
                  </a:cubicBezTo>
                  <a:cubicBezTo>
                    <a:pt x="132043" y="334568"/>
                    <a:pt x="105473" y="327127"/>
                    <a:pt x="81227" y="312548"/>
                  </a:cubicBezTo>
                  <a:cubicBezTo>
                    <a:pt x="56980" y="297968"/>
                    <a:pt x="37482" y="278056"/>
                    <a:pt x="22732" y="252812"/>
                  </a:cubicBezTo>
                  <a:cubicBezTo>
                    <a:pt x="7982" y="227567"/>
                    <a:pt x="405" y="198797"/>
                    <a:pt x="0" y="166502"/>
                  </a:cubicBezTo>
                  <a:cubicBezTo>
                    <a:pt x="343" y="134622"/>
                    <a:pt x="7561" y="106198"/>
                    <a:pt x="21654" y="81230"/>
                  </a:cubicBezTo>
                  <a:cubicBezTo>
                    <a:pt x="35746" y="56262"/>
                    <a:pt x="54656" y="36557"/>
                    <a:pt x="78382" y="22115"/>
                  </a:cubicBezTo>
                  <a:cubicBezTo>
                    <a:pt x="102109" y="7673"/>
                    <a:pt x="128595" y="301"/>
                    <a:pt x="157840" y="0"/>
                  </a:cubicBezTo>
                  <a:close/>
                  <a:moveTo>
                    <a:pt x="159079" y="35212"/>
                  </a:moveTo>
                  <a:cubicBezTo>
                    <a:pt x="127505" y="35742"/>
                    <a:pt x="100848" y="46145"/>
                    <a:pt x="79107" y="66423"/>
                  </a:cubicBezTo>
                  <a:cubicBezTo>
                    <a:pt x="57366" y="86700"/>
                    <a:pt x="44179" y="113676"/>
                    <a:pt x="39547" y="147351"/>
                  </a:cubicBezTo>
                  <a:lnTo>
                    <a:pt x="271796" y="147351"/>
                  </a:lnTo>
                  <a:cubicBezTo>
                    <a:pt x="268881" y="114489"/>
                    <a:pt x="257836" y="87745"/>
                    <a:pt x="238663" y="67120"/>
                  </a:cubicBezTo>
                  <a:cubicBezTo>
                    <a:pt x="219489" y="46494"/>
                    <a:pt x="192961" y="35858"/>
                    <a:pt x="159079" y="35212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8A50D27D-9134-4260-9625-A03ACB43BB75}"/>
                </a:ext>
              </a:extLst>
            </p:cNvPr>
            <p:cNvSpPr/>
            <p:nvPr/>
          </p:nvSpPr>
          <p:spPr>
            <a:xfrm>
              <a:off x="7784908" y="2379151"/>
              <a:ext cx="162134" cy="327439"/>
            </a:xfrm>
            <a:custGeom>
              <a:avLst/>
              <a:gdLst/>
              <a:ahLst/>
              <a:cxnLst/>
              <a:rect l="l" t="t" r="r" b="b"/>
              <a:pathLst>
                <a:path w="162134" h="327439">
                  <a:moveTo>
                    <a:pt x="162134" y="0"/>
                  </a:moveTo>
                  <a:lnTo>
                    <a:pt x="162134" y="35212"/>
                  </a:lnTo>
                  <a:cubicBezTo>
                    <a:pt x="125283" y="35792"/>
                    <a:pt x="95591" y="46396"/>
                    <a:pt x="73057" y="67025"/>
                  </a:cubicBezTo>
                  <a:cubicBezTo>
                    <a:pt x="50523" y="87655"/>
                    <a:pt x="38941" y="114831"/>
                    <a:pt x="38309" y="148556"/>
                  </a:cubicBezTo>
                  <a:lnTo>
                    <a:pt x="38309" y="327439"/>
                  </a:lnTo>
                  <a:lnTo>
                    <a:pt x="0" y="327439"/>
                  </a:lnTo>
                  <a:lnTo>
                    <a:pt x="0" y="7429"/>
                  </a:lnTo>
                  <a:lnTo>
                    <a:pt x="38309" y="7429"/>
                  </a:lnTo>
                  <a:lnTo>
                    <a:pt x="38309" y="74217"/>
                  </a:lnTo>
                  <a:cubicBezTo>
                    <a:pt x="47338" y="51898"/>
                    <a:pt x="62713" y="34035"/>
                    <a:pt x="84434" y="20628"/>
                  </a:cubicBezTo>
                  <a:cubicBezTo>
                    <a:pt x="106154" y="7222"/>
                    <a:pt x="132054" y="345"/>
                    <a:pt x="162134" y="0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8AD9AAAC-AEE1-41E7-98D0-8AAAA66A65F2}"/>
                </a:ext>
              </a:extLst>
            </p:cNvPr>
            <p:cNvSpPr/>
            <p:nvPr/>
          </p:nvSpPr>
          <p:spPr>
            <a:xfrm>
              <a:off x="7992696" y="2379151"/>
              <a:ext cx="330536" cy="334869"/>
            </a:xfrm>
            <a:custGeom>
              <a:avLst/>
              <a:gdLst/>
              <a:ahLst/>
              <a:cxnLst/>
              <a:rect l="l" t="t" r="r" b="b"/>
              <a:pathLst>
                <a:path w="330536" h="334869">
                  <a:moveTo>
                    <a:pt x="165267" y="0"/>
                  </a:moveTo>
                  <a:cubicBezTo>
                    <a:pt x="195773" y="366"/>
                    <a:pt x="223451" y="8019"/>
                    <a:pt x="248301" y="22960"/>
                  </a:cubicBezTo>
                  <a:cubicBezTo>
                    <a:pt x="273151" y="37901"/>
                    <a:pt x="292978" y="57935"/>
                    <a:pt x="307782" y="83060"/>
                  </a:cubicBezTo>
                  <a:cubicBezTo>
                    <a:pt x="322585" y="108185"/>
                    <a:pt x="330170" y="136207"/>
                    <a:pt x="330536" y="167125"/>
                  </a:cubicBezTo>
                  <a:cubicBezTo>
                    <a:pt x="330170" y="198051"/>
                    <a:pt x="322585" y="226126"/>
                    <a:pt x="307782" y="251351"/>
                  </a:cubicBezTo>
                  <a:cubicBezTo>
                    <a:pt x="292978" y="276575"/>
                    <a:pt x="273151" y="296708"/>
                    <a:pt x="248301" y="311748"/>
                  </a:cubicBezTo>
                  <a:cubicBezTo>
                    <a:pt x="223451" y="326788"/>
                    <a:pt x="195773" y="334495"/>
                    <a:pt x="165267" y="334869"/>
                  </a:cubicBezTo>
                  <a:cubicBezTo>
                    <a:pt x="134762" y="334495"/>
                    <a:pt x="107084" y="326788"/>
                    <a:pt x="82234" y="311748"/>
                  </a:cubicBezTo>
                  <a:cubicBezTo>
                    <a:pt x="57384" y="296708"/>
                    <a:pt x="37557" y="276575"/>
                    <a:pt x="22754" y="251351"/>
                  </a:cubicBezTo>
                  <a:cubicBezTo>
                    <a:pt x="7951" y="226126"/>
                    <a:pt x="366" y="198051"/>
                    <a:pt x="0" y="167125"/>
                  </a:cubicBezTo>
                  <a:cubicBezTo>
                    <a:pt x="366" y="136207"/>
                    <a:pt x="7951" y="108185"/>
                    <a:pt x="22754" y="83060"/>
                  </a:cubicBezTo>
                  <a:cubicBezTo>
                    <a:pt x="37557" y="57935"/>
                    <a:pt x="57384" y="37901"/>
                    <a:pt x="82234" y="22960"/>
                  </a:cubicBezTo>
                  <a:cubicBezTo>
                    <a:pt x="107084" y="8019"/>
                    <a:pt x="134762" y="366"/>
                    <a:pt x="165267" y="0"/>
                  </a:cubicBezTo>
                  <a:close/>
                  <a:moveTo>
                    <a:pt x="165267" y="35212"/>
                  </a:moveTo>
                  <a:cubicBezTo>
                    <a:pt x="129954" y="36180"/>
                    <a:pt x="100407" y="49108"/>
                    <a:pt x="76628" y="73997"/>
                  </a:cubicBezTo>
                  <a:cubicBezTo>
                    <a:pt x="52849" y="98885"/>
                    <a:pt x="40489" y="129928"/>
                    <a:pt x="39547" y="167125"/>
                  </a:cubicBezTo>
                  <a:cubicBezTo>
                    <a:pt x="40489" y="204348"/>
                    <a:pt x="52849" y="235494"/>
                    <a:pt x="76628" y="260563"/>
                  </a:cubicBezTo>
                  <a:cubicBezTo>
                    <a:pt x="100407" y="285632"/>
                    <a:pt x="129954" y="298663"/>
                    <a:pt x="165267" y="299656"/>
                  </a:cubicBezTo>
                  <a:cubicBezTo>
                    <a:pt x="200581" y="298663"/>
                    <a:pt x="230128" y="285632"/>
                    <a:pt x="253907" y="260563"/>
                  </a:cubicBezTo>
                  <a:cubicBezTo>
                    <a:pt x="277686" y="235494"/>
                    <a:pt x="290047" y="204348"/>
                    <a:pt x="290989" y="167125"/>
                  </a:cubicBezTo>
                  <a:cubicBezTo>
                    <a:pt x="290047" y="129928"/>
                    <a:pt x="277686" y="98885"/>
                    <a:pt x="253907" y="73997"/>
                  </a:cubicBezTo>
                  <a:cubicBezTo>
                    <a:pt x="230128" y="49108"/>
                    <a:pt x="200581" y="36180"/>
                    <a:pt x="165267" y="35212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05D99233-8B51-431E-B7AE-9CFD2F67C3E6}"/>
                </a:ext>
              </a:extLst>
            </p:cNvPr>
            <p:cNvSpPr/>
            <p:nvPr/>
          </p:nvSpPr>
          <p:spPr>
            <a:xfrm>
              <a:off x="8404653" y="2379151"/>
              <a:ext cx="303913" cy="433929"/>
            </a:xfrm>
            <a:custGeom>
              <a:avLst/>
              <a:gdLst/>
              <a:ahLst/>
              <a:cxnLst/>
              <a:rect l="l" t="t" r="r" b="b"/>
              <a:pathLst>
                <a:path w="303913" h="433929">
                  <a:moveTo>
                    <a:pt x="157842" y="0"/>
                  </a:moveTo>
                  <a:cubicBezTo>
                    <a:pt x="199966" y="1002"/>
                    <a:pt x="234608" y="16936"/>
                    <a:pt x="261767" y="47802"/>
                  </a:cubicBezTo>
                  <a:cubicBezTo>
                    <a:pt x="288926" y="78669"/>
                    <a:pt x="302975" y="118456"/>
                    <a:pt x="303913" y="167163"/>
                  </a:cubicBezTo>
                  <a:cubicBezTo>
                    <a:pt x="302975" y="216136"/>
                    <a:pt x="288926" y="256082"/>
                    <a:pt x="261767" y="287003"/>
                  </a:cubicBezTo>
                  <a:cubicBezTo>
                    <a:pt x="234608" y="317924"/>
                    <a:pt x="199966" y="333879"/>
                    <a:pt x="157842" y="334869"/>
                  </a:cubicBezTo>
                  <a:cubicBezTo>
                    <a:pt x="131378" y="334665"/>
                    <a:pt x="107972" y="328432"/>
                    <a:pt x="87624" y="316172"/>
                  </a:cubicBezTo>
                  <a:cubicBezTo>
                    <a:pt x="67276" y="303912"/>
                    <a:pt x="50837" y="286849"/>
                    <a:pt x="38308" y="264985"/>
                  </a:cubicBezTo>
                  <a:lnTo>
                    <a:pt x="38308" y="433929"/>
                  </a:lnTo>
                  <a:lnTo>
                    <a:pt x="0" y="433929"/>
                  </a:lnTo>
                  <a:lnTo>
                    <a:pt x="0" y="7429"/>
                  </a:lnTo>
                  <a:lnTo>
                    <a:pt x="38308" y="7429"/>
                  </a:lnTo>
                  <a:lnTo>
                    <a:pt x="38308" y="69894"/>
                  </a:lnTo>
                  <a:cubicBezTo>
                    <a:pt x="50837" y="48025"/>
                    <a:pt x="67276" y="30959"/>
                    <a:pt x="87624" y="18698"/>
                  </a:cubicBezTo>
                  <a:cubicBezTo>
                    <a:pt x="107972" y="6437"/>
                    <a:pt x="131378" y="204"/>
                    <a:pt x="157842" y="0"/>
                  </a:cubicBezTo>
                  <a:close/>
                  <a:moveTo>
                    <a:pt x="150410" y="35212"/>
                  </a:moveTo>
                  <a:cubicBezTo>
                    <a:pt x="117017" y="35870"/>
                    <a:pt x="90127" y="48179"/>
                    <a:pt x="69740" y="72139"/>
                  </a:cubicBezTo>
                  <a:cubicBezTo>
                    <a:pt x="49354" y="96098"/>
                    <a:pt x="38876" y="127760"/>
                    <a:pt x="38308" y="167125"/>
                  </a:cubicBezTo>
                  <a:cubicBezTo>
                    <a:pt x="38876" y="206515"/>
                    <a:pt x="49354" y="238281"/>
                    <a:pt x="69740" y="262421"/>
                  </a:cubicBezTo>
                  <a:cubicBezTo>
                    <a:pt x="90127" y="286561"/>
                    <a:pt x="117017" y="298972"/>
                    <a:pt x="150410" y="299656"/>
                  </a:cubicBezTo>
                  <a:cubicBezTo>
                    <a:pt x="183312" y="298856"/>
                    <a:pt x="210253" y="286212"/>
                    <a:pt x="231233" y="261724"/>
                  </a:cubicBezTo>
                  <a:cubicBezTo>
                    <a:pt x="252213" y="237235"/>
                    <a:pt x="263051" y="205703"/>
                    <a:pt x="263747" y="167125"/>
                  </a:cubicBezTo>
                  <a:cubicBezTo>
                    <a:pt x="263051" y="128573"/>
                    <a:pt x="252213" y="97143"/>
                    <a:pt x="231233" y="72836"/>
                  </a:cubicBezTo>
                  <a:cubicBezTo>
                    <a:pt x="210253" y="48528"/>
                    <a:pt x="183312" y="35987"/>
                    <a:pt x="150410" y="35212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99B1F118-34ED-4FB8-A180-737A1399C241}"/>
                </a:ext>
              </a:extLst>
            </p:cNvPr>
            <p:cNvSpPr/>
            <p:nvPr/>
          </p:nvSpPr>
          <p:spPr>
            <a:xfrm>
              <a:off x="8764222" y="2379151"/>
              <a:ext cx="330535" cy="334869"/>
            </a:xfrm>
            <a:custGeom>
              <a:avLst/>
              <a:gdLst/>
              <a:ahLst/>
              <a:cxnLst/>
              <a:rect l="l" t="t" r="r" b="b"/>
              <a:pathLst>
                <a:path w="330535" h="334869">
                  <a:moveTo>
                    <a:pt x="165267" y="0"/>
                  </a:moveTo>
                  <a:cubicBezTo>
                    <a:pt x="195773" y="366"/>
                    <a:pt x="223451" y="8019"/>
                    <a:pt x="248301" y="22960"/>
                  </a:cubicBezTo>
                  <a:cubicBezTo>
                    <a:pt x="273151" y="37901"/>
                    <a:pt x="292978" y="57935"/>
                    <a:pt x="307781" y="83060"/>
                  </a:cubicBezTo>
                  <a:cubicBezTo>
                    <a:pt x="322585" y="108185"/>
                    <a:pt x="330169" y="136207"/>
                    <a:pt x="330535" y="167125"/>
                  </a:cubicBezTo>
                  <a:cubicBezTo>
                    <a:pt x="330169" y="198051"/>
                    <a:pt x="322585" y="226126"/>
                    <a:pt x="307781" y="251351"/>
                  </a:cubicBezTo>
                  <a:cubicBezTo>
                    <a:pt x="292978" y="276575"/>
                    <a:pt x="273151" y="296708"/>
                    <a:pt x="248301" y="311748"/>
                  </a:cubicBezTo>
                  <a:cubicBezTo>
                    <a:pt x="223451" y="326788"/>
                    <a:pt x="195773" y="334495"/>
                    <a:pt x="165267" y="334869"/>
                  </a:cubicBezTo>
                  <a:cubicBezTo>
                    <a:pt x="134761" y="334495"/>
                    <a:pt x="107083" y="326788"/>
                    <a:pt x="82234" y="311748"/>
                  </a:cubicBezTo>
                  <a:cubicBezTo>
                    <a:pt x="57383" y="296708"/>
                    <a:pt x="37557" y="276575"/>
                    <a:pt x="22754" y="251351"/>
                  </a:cubicBezTo>
                  <a:cubicBezTo>
                    <a:pt x="7951" y="226126"/>
                    <a:pt x="366" y="198051"/>
                    <a:pt x="0" y="167125"/>
                  </a:cubicBezTo>
                  <a:cubicBezTo>
                    <a:pt x="366" y="136207"/>
                    <a:pt x="7951" y="108185"/>
                    <a:pt x="22754" y="83060"/>
                  </a:cubicBezTo>
                  <a:cubicBezTo>
                    <a:pt x="37557" y="57935"/>
                    <a:pt x="57383" y="37901"/>
                    <a:pt x="82234" y="22960"/>
                  </a:cubicBezTo>
                  <a:cubicBezTo>
                    <a:pt x="107083" y="8019"/>
                    <a:pt x="134761" y="366"/>
                    <a:pt x="165267" y="0"/>
                  </a:cubicBezTo>
                  <a:close/>
                  <a:moveTo>
                    <a:pt x="165267" y="35212"/>
                  </a:moveTo>
                  <a:cubicBezTo>
                    <a:pt x="129954" y="36180"/>
                    <a:pt x="100407" y="49108"/>
                    <a:pt x="76628" y="73997"/>
                  </a:cubicBezTo>
                  <a:cubicBezTo>
                    <a:pt x="52849" y="98885"/>
                    <a:pt x="40489" y="129928"/>
                    <a:pt x="39547" y="167125"/>
                  </a:cubicBezTo>
                  <a:cubicBezTo>
                    <a:pt x="40489" y="204348"/>
                    <a:pt x="52849" y="235494"/>
                    <a:pt x="76628" y="260563"/>
                  </a:cubicBezTo>
                  <a:cubicBezTo>
                    <a:pt x="100407" y="285632"/>
                    <a:pt x="129954" y="298663"/>
                    <a:pt x="165267" y="299656"/>
                  </a:cubicBezTo>
                  <a:cubicBezTo>
                    <a:pt x="200581" y="298663"/>
                    <a:pt x="230128" y="285632"/>
                    <a:pt x="253907" y="260563"/>
                  </a:cubicBezTo>
                  <a:cubicBezTo>
                    <a:pt x="277686" y="235494"/>
                    <a:pt x="290047" y="204348"/>
                    <a:pt x="290989" y="167125"/>
                  </a:cubicBezTo>
                  <a:cubicBezTo>
                    <a:pt x="290047" y="129928"/>
                    <a:pt x="277686" y="98885"/>
                    <a:pt x="253907" y="73997"/>
                  </a:cubicBezTo>
                  <a:cubicBezTo>
                    <a:pt x="230128" y="49108"/>
                    <a:pt x="200581" y="36180"/>
                    <a:pt x="165267" y="35212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99817CB1-DAD9-42CD-BEDA-3ADB122B8709}"/>
                </a:ext>
              </a:extLst>
            </p:cNvPr>
            <p:cNvSpPr/>
            <p:nvPr/>
          </p:nvSpPr>
          <p:spPr>
            <a:xfrm>
              <a:off x="9443830" y="2379151"/>
              <a:ext cx="247572" cy="334869"/>
            </a:xfrm>
            <a:custGeom>
              <a:avLst/>
              <a:gdLst/>
              <a:ahLst/>
              <a:cxnLst/>
              <a:rect l="l" t="t" r="r" b="b"/>
              <a:pathLst>
                <a:path w="247572" h="334869">
                  <a:moveTo>
                    <a:pt x="127498" y="0"/>
                  </a:moveTo>
                  <a:cubicBezTo>
                    <a:pt x="147218" y="103"/>
                    <a:pt x="166934" y="3295"/>
                    <a:pt x="186644" y="9575"/>
                  </a:cubicBezTo>
                  <a:cubicBezTo>
                    <a:pt x="206354" y="15856"/>
                    <a:pt x="224810" y="24609"/>
                    <a:pt x="242012" y="35833"/>
                  </a:cubicBezTo>
                  <a:lnTo>
                    <a:pt x="222857" y="65559"/>
                  </a:lnTo>
                  <a:cubicBezTo>
                    <a:pt x="206974" y="55624"/>
                    <a:pt x="190931" y="48089"/>
                    <a:pt x="174726" y="42954"/>
                  </a:cubicBezTo>
                  <a:cubicBezTo>
                    <a:pt x="158521" y="37819"/>
                    <a:pt x="142778" y="35238"/>
                    <a:pt x="127498" y="35212"/>
                  </a:cubicBezTo>
                  <a:cubicBezTo>
                    <a:pt x="107457" y="35367"/>
                    <a:pt x="90706" y="39857"/>
                    <a:pt x="77246" y="48683"/>
                  </a:cubicBezTo>
                  <a:cubicBezTo>
                    <a:pt x="63786" y="57508"/>
                    <a:pt x="56792" y="69739"/>
                    <a:pt x="56263" y="85377"/>
                  </a:cubicBezTo>
                  <a:cubicBezTo>
                    <a:pt x="56004" y="99440"/>
                    <a:pt x="62715" y="110949"/>
                    <a:pt x="76394" y="119903"/>
                  </a:cubicBezTo>
                  <a:cubicBezTo>
                    <a:pt x="90074" y="128857"/>
                    <a:pt x="112270" y="138198"/>
                    <a:pt x="142984" y="147927"/>
                  </a:cubicBezTo>
                  <a:cubicBezTo>
                    <a:pt x="173358" y="156519"/>
                    <a:pt x="198222" y="167667"/>
                    <a:pt x="217578" y="181369"/>
                  </a:cubicBezTo>
                  <a:cubicBezTo>
                    <a:pt x="236933" y="195071"/>
                    <a:pt x="246931" y="215508"/>
                    <a:pt x="247572" y="242680"/>
                  </a:cubicBezTo>
                  <a:cubicBezTo>
                    <a:pt x="246802" y="270365"/>
                    <a:pt x="235668" y="292542"/>
                    <a:pt x="214171" y="309212"/>
                  </a:cubicBezTo>
                  <a:cubicBezTo>
                    <a:pt x="192674" y="325881"/>
                    <a:pt x="165434" y="334434"/>
                    <a:pt x="132453" y="334869"/>
                  </a:cubicBezTo>
                  <a:cubicBezTo>
                    <a:pt x="109819" y="334780"/>
                    <a:pt x="86962" y="330634"/>
                    <a:pt x="63881" y="322433"/>
                  </a:cubicBezTo>
                  <a:cubicBezTo>
                    <a:pt x="40800" y="314231"/>
                    <a:pt x="19507" y="302510"/>
                    <a:pt x="0" y="287270"/>
                  </a:cubicBezTo>
                  <a:lnTo>
                    <a:pt x="21044" y="258782"/>
                  </a:lnTo>
                  <a:cubicBezTo>
                    <a:pt x="39390" y="272136"/>
                    <a:pt x="58025" y="282277"/>
                    <a:pt x="76948" y="289205"/>
                  </a:cubicBezTo>
                  <a:cubicBezTo>
                    <a:pt x="95870" y="296134"/>
                    <a:pt x="114372" y="299618"/>
                    <a:pt x="132453" y="299656"/>
                  </a:cubicBezTo>
                  <a:cubicBezTo>
                    <a:pt x="155166" y="299372"/>
                    <a:pt x="173543" y="294366"/>
                    <a:pt x="187584" y="284638"/>
                  </a:cubicBezTo>
                  <a:cubicBezTo>
                    <a:pt x="201624" y="274910"/>
                    <a:pt x="208851" y="262162"/>
                    <a:pt x="209264" y="246396"/>
                  </a:cubicBezTo>
                  <a:cubicBezTo>
                    <a:pt x="208942" y="229481"/>
                    <a:pt x="201224" y="216244"/>
                    <a:pt x="186112" y="206683"/>
                  </a:cubicBezTo>
                  <a:cubicBezTo>
                    <a:pt x="171000" y="197123"/>
                    <a:pt x="150430" y="188685"/>
                    <a:pt x="124401" y="181369"/>
                  </a:cubicBezTo>
                  <a:cubicBezTo>
                    <a:pt x="86371" y="170622"/>
                    <a:pt x="59031" y="158210"/>
                    <a:pt x="42382" y="144133"/>
                  </a:cubicBezTo>
                  <a:cubicBezTo>
                    <a:pt x="25733" y="130057"/>
                    <a:pt x="17590" y="111917"/>
                    <a:pt x="17954" y="89712"/>
                  </a:cubicBezTo>
                  <a:cubicBezTo>
                    <a:pt x="18686" y="62673"/>
                    <a:pt x="29278" y="41063"/>
                    <a:pt x="49729" y="24883"/>
                  </a:cubicBezTo>
                  <a:cubicBezTo>
                    <a:pt x="70181" y="8703"/>
                    <a:pt x="96104" y="409"/>
                    <a:pt x="127498" y="0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8965CEB0-3B0E-4C5D-82CE-B28C6B20C2B1}"/>
                </a:ext>
              </a:extLst>
            </p:cNvPr>
            <p:cNvSpPr/>
            <p:nvPr/>
          </p:nvSpPr>
          <p:spPr>
            <a:xfrm>
              <a:off x="10449527" y="2379151"/>
              <a:ext cx="305770" cy="433929"/>
            </a:xfrm>
            <a:custGeom>
              <a:avLst/>
              <a:gdLst/>
              <a:ahLst/>
              <a:cxnLst/>
              <a:rect l="l" t="t" r="r" b="b"/>
              <a:pathLst>
                <a:path w="305770" h="433929">
                  <a:moveTo>
                    <a:pt x="144833" y="0"/>
                  </a:moveTo>
                  <a:cubicBezTo>
                    <a:pt x="172238" y="138"/>
                    <a:pt x="196392" y="6193"/>
                    <a:pt x="217295" y="18166"/>
                  </a:cubicBezTo>
                  <a:cubicBezTo>
                    <a:pt x="238197" y="30138"/>
                    <a:pt x="254920" y="47197"/>
                    <a:pt x="267462" y="69342"/>
                  </a:cubicBezTo>
                  <a:lnTo>
                    <a:pt x="267462" y="7429"/>
                  </a:lnTo>
                  <a:lnTo>
                    <a:pt x="305770" y="7429"/>
                  </a:lnTo>
                  <a:lnTo>
                    <a:pt x="305770" y="293411"/>
                  </a:lnTo>
                  <a:cubicBezTo>
                    <a:pt x="304987" y="335306"/>
                    <a:pt x="290628" y="369024"/>
                    <a:pt x="262693" y="394562"/>
                  </a:cubicBezTo>
                  <a:cubicBezTo>
                    <a:pt x="234759" y="420100"/>
                    <a:pt x="197950" y="433223"/>
                    <a:pt x="152265" y="433929"/>
                  </a:cubicBezTo>
                  <a:cubicBezTo>
                    <a:pt x="126743" y="433698"/>
                    <a:pt x="102539" y="429681"/>
                    <a:pt x="79653" y="421880"/>
                  </a:cubicBezTo>
                  <a:cubicBezTo>
                    <a:pt x="56767" y="414078"/>
                    <a:pt x="37837" y="403878"/>
                    <a:pt x="22863" y="391281"/>
                  </a:cubicBezTo>
                  <a:lnTo>
                    <a:pt x="40165" y="360299"/>
                  </a:lnTo>
                  <a:cubicBezTo>
                    <a:pt x="53533" y="372201"/>
                    <a:pt x="69687" y="381547"/>
                    <a:pt x="88629" y="388337"/>
                  </a:cubicBezTo>
                  <a:cubicBezTo>
                    <a:pt x="107569" y="395128"/>
                    <a:pt x="127130" y="398587"/>
                    <a:pt x="147310" y="398716"/>
                  </a:cubicBezTo>
                  <a:cubicBezTo>
                    <a:pt x="184561" y="398393"/>
                    <a:pt x="213799" y="388971"/>
                    <a:pt x="235023" y="370449"/>
                  </a:cubicBezTo>
                  <a:cubicBezTo>
                    <a:pt x="256249" y="351928"/>
                    <a:pt x="267062" y="326249"/>
                    <a:pt x="267462" y="293411"/>
                  </a:cubicBezTo>
                  <a:lnTo>
                    <a:pt x="267462" y="234017"/>
                  </a:lnTo>
                  <a:cubicBezTo>
                    <a:pt x="254843" y="256428"/>
                    <a:pt x="237965" y="273648"/>
                    <a:pt x="216830" y="285678"/>
                  </a:cubicBezTo>
                  <a:cubicBezTo>
                    <a:pt x="195696" y="297707"/>
                    <a:pt x="171696" y="303786"/>
                    <a:pt x="144833" y="303913"/>
                  </a:cubicBezTo>
                  <a:cubicBezTo>
                    <a:pt x="102761" y="303026"/>
                    <a:pt x="68325" y="288564"/>
                    <a:pt x="41527" y="260527"/>
                  </a:cubicBezTo>
                  <a:cubicBezTo>
                    <a:pt x="14729" y="232489"/>
                    <a:pt x="886" y="196196"/>
                    <a:pt x="0" y="151646"/>
                  </a:cubicBezTo>
                  <a:cubicBezTo>
                    <a:pt x="886" y="107393"/>
                    <a:pt x="14729" y="71281"/>
                    <a:pt x="41527" y="43308"/>
                  </a:cubicBezTo>
                  <a:cubicBezTo>
                    <a:pt x="68325" y="15335"/>
                    <a:pt x="102761" y="899"/>
                    <a:pt x="144833" y="0"/>
                  </a:cubicBezTo>
                  <a:close/>
                  <a:moveTo>
                    <a:pt x="152265" y="35212"/>
                  </a:moveTo>
                  <a:cubicBezTo>
                    <a:pt x="119685" y="35921"/>
                    <a:pt x="93028" y="47045"/>
                    <a:pt x="72294" y="68583"/>
                  </a:cubicBezTo>
                  <a:cubicBezTo>
                    <a:pt x="51559" y="90122"/>
                    <a:pt x="40849" y="117823"/>
                    <a:pt x="40165" y="151685"/>
                  </a:cubicBezTo>
                  <a:cubicBezTo>
                    <a:pt x="40849" y="185815"/>
                    <a:pt x="51559" y="213675"/>
                    <a:pt x="72294" y="235267"/>
                  </a:cubicBezTo>
                  <a:cubicBezTo>
                    <a:pt x="93028" y="256859"/>
                    <a:pt x="119685" y="268003"/>
                    <a:pt x="152265" y="268700"/>
                  </a:cubicBezTo>
                  <a:cubicBezTo>
                    <a:pt x="186057" y="268120"/>
                    <a:pt x="213540" y="257207"/>
                    <a:pt x="234714" y="235959"/>
                  </a:cubicBezTo>
                  <a:cubicBezTo>
                    <a:pt x="255888" y="214711"/>
                    <a:pt x="266804" y="186607"/>
                    <a:pt x="267462" y="151646"/>
                  </a:cubicBezTo>
                  <a:cubicBezTo>
                    <a:pt x="266804" y="116989"/>
                    <a:pt x="255888" y="89068"/>
                    <a:pt x="234714" y="67882"/>
                  </a:cubicBezTo>
                  <a:cubicBezTo>
                    <a:pt x="213540" y="46696"/>
                    <a:pt x="186057" y="35806"/>
                    <a:pt x="152265" y="35212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2C78B23A-632F-4FF2-B1DB-D62779A331A5}"/>
                </a:ext>
              </a:extLst>
            </p:cNvPr>
            <p:cNvSpPr/>
            <p:nvPr/>
          </p:nvSpPr>
          <p:spPr>
            <a:xfrm>
              <a:off x="9327958" y="2386580"/>
              <a:ext cx="38308" cy="320010"/>
            </a:xfrm>
            <a:custGeom>
              <a:avLst/>
              <a:gdLst/>
              <a:ahLst/>
              <a:cxnLst/>
              <a:rect l="l" t="t" r="r" b="b"/>
              <a:pathLst>
                <a:path w="38308" h="320010">
                  <a:moveTo>
                    <a:pt x="0" y="0"/>
                  </a:moveTo>
                  <a:lnTo>
                    <a:pt x="38308" y="0"/>
                  </a:lnTo>
                  <a:lnTo>
                    <a:pt x="38308" y="320010"/>
                  </a:lnTo>
                  <a:lnTo>
                    <a:pt x="0" y="32001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624329D5-649B-4928-85CD-14362B04489C}"/>
                </a:ext>
              </a:extLst>
            </p:cNvPr>
            <p:cNvSpPr/>
            <p:nvPr/>
          </p:nvSpPr>
          <p:spPr>
            <a:xfrm>
              <a:off x="10328084" y="2386580"/>
              <a:ext cx="38309" cy="320010"/>
            </a:xfrm>
            <a:custGeom>
              <a:avLst/>
              <a:gdLst/>
              <a:ahLst/>
              <a:cxnLst/>
              <a:rect l="l" t="t" r="r" b="b"/>
              <a:pathLst>
                <a:path w="38309" h="320010">
                  <a:moveTo>
                    <a:pt x="0" y="0"/>
                  </a:moveTo>
                  <a:lnTo>
                    <a:pt x="38309" y="0"/>
                  </a:lnTo>
                  <a:lnTo>
                    <a:pt x="38309" y="320010"/>
                  </a:lnTo>
                  <a:lnTo>
                    <a:pt x="0" y="32001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164E83D4-30F6-4C59-8FFA-AD2FC2966221}"/>
              </a:ext>
            </a:extLst>
          </p:cNvPr>
          <p:cNvGrpSpPr/>
          <p:nvPr userDrawn="1"/>
        </p:nvGrpSpPr>
        <p:grpSpPr>
          <a:xfrm>
            <a:off x="672458" y="2225997"/>
            <a:ext cx="3021853" cy="546070"/>
            <a:chOff x="2656324" y="2163854"/>
            <a:chExt cx="3021853" cy="546070"/>
          </a:xfrm>
        </p:grpSpPr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F3051B0B-E539-41DA-BF1C-88B850B08AC1}"/>
                </a:ext>
              </a:extLst>
            </p:cNvPr>
            <p:cNvSpPr txBox="1">
              <a:spLocks/>
            </p:cNvSpPr>
            <p:nvPr/>
          </p:nvSpPr>
          <p:spPr>
            <a:xfrm>
              <a:off x="5302274" y="2163854"/>
              <a:ext cx="61293" cy="61294"/>
            </a:xfrm>
            <a:custGeom>
              <a:avLst/>
              <a:gdLst/>
              <a:ahLst/>
              <a:cxnLst/>
              <a:rect l="l" t="t" r="r" b="b"/>
              <a:pathLst>
                <a:path w="61293" h="61294">
                  <a:moveTo>
                    <a:pt x="30956" y="0"/>
                  </a:moveTo>
                  <a:cubicBezTo>
                    <a:pt x="39211" y="0"/>
                    <a:pt x="46331" y="2993"/>
                    <a:pt x="52316" y="8978"/>
                  </a:cubicBezTo>
                  <a:cubicBezTo>
                    <a:pt x="58301" y="14963"/>
                    <a:pt x="61293" y="22083"/>
                    <a:pt x="61293" y="30338"/>
                  </a:cubicBezTo>
                  <a:cubicBezTo>
                    <a:pt x="61293" y="38592"/>
                    <a:pt x="58301" y="45816"/>
                    <a:pt x="52316" y="52007"/>
                  </a:cubicBezTo>
                  <a:cubicBezTo>
                    <a:pt x="46331" y="58198"/>
                    <a:pt x="39211" y="61294"/>
                    <a:pt x="30956" y="61294"/>
                  </a:cubicBezTo>
                  <a:cubicBezTo>
                    <a:pt x="22288" y="61294"/>
                    <a:pt x="14962" y="58198"/>
                    <a:pt x="8977" y="52007"/>
                  </a:cubicBezTo>
                  <a:cubicBezTo>
                    <a:pt x="2992" y="45816"/>
                    <a:pt x="0" y="38592"/>
                    <a:pt x="0" y="30338"/>
                  </a:cubicBezTo>
                  <a:cubicBezTo>
                    <a:pt x="0" y="22083"/>
                    <a:pt x="2992" y="14963"/>
                    <a:pt x="8977" y="8978"/>
                  </a:cubicBezTo>
                  <a:cubicBezTo>
                    <a:pt x="14962" y="2993"/>
                    <a:pt x="22288" y="0"/>
                    <a:pt x="30956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E869A88A-B6ED-41AF-A29B-C30FFF486BB6}"/>
                </a:ext>
              </a:extLst>
            </p:cNvPr>
            <p:cNvSpPr txBox="1">
              <a:spLocks/>
            </p:cNvSpPr>
            <p:nvPr/>
          </p:nvSpPr>
          <p:spPr>
            <a:xfrm>
              <a:off x="5157303" y="2170665"/>
              <a:ext cx="46434" cy="432768"/>
            </a:xfrm>
            <a:custGeom>
              <a:avLst/>
              <a:gdLst/>
              <a:ahLst/>
              <a:cxnLst/>
              <a:rect l="l" t="t" r="r" b="b"/>
              <a:pathLst>
                <a:path w="46434" h="432768">
                  <a:moveTo>
                    <a:pt x="0" y="0"/>
                  </a:moveTo>
                  <a:lnTo>
                    <a:pt x="46434" y="0"/>
                  </a:lnTo>
                  <a:lnTo>
                    <a:pt x="46434" y="432768"/>
                  </a:lnTo>
                  <a:lnTo>
                    <a:pt x="0" y="43276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2801540C-5A6C-4A54-B0C6-6C0846EC4390}"/>
                </a:ext>
              </a:extLst>
            </p:cNvPr>
            <p:cNvSpPr txBox="1">
              <a:spLocks/>
            </p:cNvSpPr>
            <p:nvPr/>
          </p:nvSpPr>
          <p:spPr>
            <a:xfrm>
              <a:off x="2656324" y="2178095"/>
              <a:ext cx="412337" cy="425339"/>
            </a:xfrm>
            <a:custGeom>
              <a:avLst/>
              <a:gdLst/>
              <a:ahLst/>
              <a:cxnLst/>
              <a:rect l="l" t="t" r="r" b="b"/>
              <a:pathLst>
                <a:path w="412337" h="425339">
                  <a:moveTo>
                    <a:pt x="0" y="0"/>
                  </a:moveTo>
                  <a:lnTo>
                    <a:pt x="48291" y="0"/>
                  </a:lnTo>
                  <a:lnTo>
                    <a:pt x="206168" y="296561"/>
                  </a:lnTo>
                  <a:lnTo>
                    <a:pt x="364045" y="0"/>
                  </a:lnTo>
                  <a:lnTo>
                    <a:pt x="412337" y="0"/>
                  </a:lnTo>
                  <a:lnTo>
                    <a:pt x="412337" y="425339"/>
                  </a:lnTo>
                  <a:lnTo>
                    <a:pt x="364045" y="425339"/>
                  </a:lnTo>
                  <a:lnTo>
                    <a:pt x="364045" y="104013"/>
                  </a:lnTo>
                  <a:lnTo>
                    <a:pt x="206168" y="400574"/>
                  </a:lnTo>
                  <a:lnTo>
                    <a:pt x="48291" y="104013"/>
                  </a:lnTo>
                  <a:lnTo>
                    <a:pt x="48291" y="425339"/>
                  </a:lnTo>
                  <a:lnTo>
                    <a:pt x="0" y="4253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B91D5C56-2A21-48F7-9A01-6B21056777FC}"/>
                </a:ext>
              </a:extLst>
            </p:cNvPr>
            <p:cNvSpPr txBox="1">
              <a:spLocks/>
            </p:cNvSpPr>
            <p:nvPr/>
          </p:nvSpPr>
          <p:spPr>
            <a:xfrm>
              <a:off x="3506716" y="2195431"/>
              <a:ext cx="187595" cy="415433"/>
            </a:xfrm>
            <a:custGeom>
              <a:avLst/>
              <a:gdLst/>
              <a:ahLst/>
              <a:cxnLst/>
              <a:rect l="l" t="t" r="r" b="b"/>
              <a:pathLst>
                <a:path w="187595" h="415433">
                  <a:moveTo>
                    <a:pt x="50149" y="0"/>
                  </a:moveTo>
                  <a:lnTo>
                    <a:pt x="96583" y="0"/>
                  </a:lnTo>
                  <a:lnTo>
                    <a:pt x="96583" y="87916"/>
                  </a:lnTo>
                  <a:lnTo>
                    <a:pt x="175212" y="87916"/>
                  </a:lnTo>
                  <a:lnTo>
                    <a:pt x="175212" y="129397"/>
                  </a:lnTo>
                  <a:lnTo>
                    <a:pt x="96583" y="129397"/>
                  </a:lnTo>
                  <a:lnTo>
                    <a:pt x="96583" y="333708"/>
                  </a:lnTo>
                  <a:cubicBezTo>
                    <a:pt x="96583" y="345265"/>
                    <a:pt x="99988" y="354862"/>
                    <a:pt x="106799" y="362497"/>
                  </a:cubicBezTo>
                  <a:cubicBezTo>
                    <a:pt x="113609" y="370133"/>
                    <a:pt x="121761" y="373951"/>
                    <a:pt x="131254" y="373951"/>
                  </a:cubicBezTo>
                  <a:cubicBezTo>
                    <a:pt x="138271" y="373951"/>
                    <a:pt x="144669" y="372713"/>
                    <a:pt x="150447" y="370237"/>
                  </a:cubicBezTo>
                  <a:cubicBezTo>
                    <a:pt x="156226" y="367760"/>
                    <a:pt x="160972" y="364664"/>
                    <a:pt x="164687" y="360950"/>
                  </a:cubicBezTo>
                  <a:lnTo>
                    <a:pt x="187595" y="395002"/>
                  </a:lnTo>
                  <a:cubicBezTo>
                    <a:pt x="170259" y="408622"/>
                    <a:pt x="150447" y="415433"/>
                    <a:pt x="128158" y="415433"/>
                  </a:cubicBezTo>
                  <a:cubicBezTo>
                    <a:pt x="105457" y="415433"/>
                    <a:pt x="86780" y="407797"/>
                    <a:pt x="72128" y="392525"/>
                  </a:cubicBezTo>
                  <a:cubicBezTo>
                    <a:pt x="57475" y="377253"/>
                    <a:pt x="50149" y="357648"/>
                    <a:pt x="50149" y="333708"/>
                  </a:cubicBezTo>
                  <a:lnTo>
                    <a:pt x="50149" y="129397"/>
                  </a:lnTo>
                  <a:lnTo>
                    <a:pt x="0" y="129397"/>
                  </a:lnTo>
                  <a:lnTo>
                    <a:pt x="0" y="87916"/>
                  </a:lnTo>
                  <a:lnTo>
                    <a:pt x="50149" y="87916"/>
                  </a:lnTo>
                  <a:lnTo>
                    <a:pt x="50149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938751F7-5AB7-4F81-9DD2-C1AE3EE50FDD}"/>
                </a:ext>
              </a:extLst>
            </p:cNvPr>
            <p:cNvSpPr txBox="1">
              <a:spLocks/>
            </p:cNvSpPr>
            <p:nvPr/>
          </p:nvSpPr>
          <p:spPr>
            <a:xfrm>
              <a:off x="3159005" y="2275917"/>
              <a:ext cx="309563" cy="334947"/>
            </a:xfrm>
            <a:custGeom>
              <a:avLst/>
              <a:gdLst/>
              <a:ahLst/>
              <a:cxnLst/>
              <a:rect l="l" t="t" r="r" b="b"/>
              <a:pathLst>
                <a:path w="309563" h="334947">
                  <a:moveTo>
                    <a:pt x="157877" y="0"/>
                  </a:moveTo>
                  <a:cubicBezTo>
                    <a:pt x="205757" y="0"/>
                    <a:pt x="243007" y="16716"/>
                    <a:pt x="269629" y="50149"/>
                  </a:cubicBezTo>
                  <a:cubicBezTo>
                    <a:pt x="296252" y="83582"/>
                    <a:pt x="309563" y="128572"/>
                    <a:pt x="309563" y="185118"/>
                  </a:cubicBezTo>
                  <a:lnTo>
                    <a:pt x="47673" y="185118"/>
                  </a:lnTo>
                  <a:cubicBezTo>
                    <a:pt x="50975" y="216900"/>
                    <a:pt x="63048" y="242903"/>
                    <a:pt x="83892" y="263128"/>
                  </a:cubicBezTo>
                  <a:cubicBezTo>
                    <a:pt x="104736" y="283353"/>
                    <a:pt x="130636" y="293465"/>
                    <a:pt x="161592" y="293465"/>
                  </a:cubicBezTo>
                  <a:cubicBezTo>
                    <a:pt x="180579" y="293465"/>
                    <a:pt x="199669" y="289751"/>
                    <a:pt x="218861" y="282321"/>
                  </a:cubicBezTo>
                  <a:cubicBezTo>
                    <a:pt x="238054" y="274892"/>
                    <a:pt x="252604" y="265811"/>
                    <a:pt x="262509" y="255080"/>
                  </a:cubicBezTo>
                  <a:lnTo>
                    <a:pt x="290989" y="285417"/>
                  </a:lnTo>
                  <a:cubicBezTo>
                    <a:pt x="277368" y="300276"/>
                    <a:pt x="258279" y="312245"/>
                    <a:pt x="233720" y="321326"/>
                  </a:cubicBezTo>
                  <a:cubicBezTo>
                    <a:pt x="209162" y="330406"/>
                    <a:pt x="185326" y="334947"/>
                    <a:pt x="162211" y="334947"/>
                  </a:cubicBezTo>
                  <a:cubicBezTo>
                    <a:pt x="133732" y="334947"/>
                    <a:pt x="107109" y="327724"/>
                    <a:pt x="82344" y="313277"/>
                  </a:cubicBezTo>
                  <a:cubicBezTo>
                    <a:pt x="57579" y="298831"/>
                    <a:pt x="37664" y="278709"/>
                    <a:pt x="22599" y="252913"/>
                  </a:cubicBezTo>
                  <a:cubicBezTo>
                    <a:pt x="7533" y="227116"/>
                    <a:pt x="0" y="198326"/>
                    <a:pt x="0" y="166545"/>
                  </a:cubicBezTo>
                  <a:cubicBezTo>
                    <a:pt x="0" y="135588"/>
                    <a:pt x="7120" y="107315"/>
                    <a:pt x="21361" y="81725"/>
                  </a:cubicBezTo>
                  <a:cubicBezTo>
                    <a:pt x="35600" y="56134"/>
                    <a:pt x="54793" y="36116"/>
                    <a:pt x="78939" y="21669"/>
                  </a:cubicBezTo>
                  <a:cubicBezTo>
                    <a:pt x="103085" y="7223"/>
                    <a:pt x="129398" y="0"/>
                    <a:pt x="157877" y="0"/>
                  </a:cubicBezTo>
                  <a:close/>
                  <a:moveTo>
                    <a:pt x="159735" y="41481"/>
                  </a:moveTo>
                  <a:cubicBezTo>
                    <a:pt x="130842" y="41481"/>
                    <a:pt x="106077" y="50871"/>
                    <a:pt x="85440" y="69652"/>
                  </a:cubicBezTo>
                  <a:cubicBezTo>
                    <a:pt x="64802" y="88432"/>
                    <a:pt x="52420" y="113094"/>
                    <a:pt x="48292" y="143637"/>
                  </a:cubicBezTo>
                  <a:lnTo>
                    <a:pt x="263748" y="143637"/>
                  </a:lnTo>
                  <a:cubicBezTo>
                    <a:pt x="260446" y="113094"/>
                    <a:pt x="249921" y="88432"/>
                    <a:pt x="232172" y="69652"/>
                  </a:cubicBezTo>
                  <a:cubicBezTo>
                    <a:pt x="214424" y="50871"/>
                    <a:pt x="190278" y="41481"/>
                    <a:pt x="159735" y="4148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2977B035-ADE6-4A4C-86F9-E9355E9D8122}"/>
                </a:ext>
              </a:extLst>
            </p:cNvPr>
            <p:cNvSpPr txBox="1">
              <a:spLocks/>
            </p:cNvSpPr>
            <p:nvPr/>
          </p:nvSpPr>
          <p:spPr>
            <a:xfrm>
              <a:off x="3757128" y="2275917"/>
              <a:ext cx="170259" cy="327517"/>
            </a:xfrm>
            <a:custGeom>
              <a:avLst/>
              <a:gdLst/>
              <a:ahLst/>
              <a:cxnLst/>
              <a:rect l="l" t="t" r="r" b="b"/>
              <a:pathLst>
                <a:path w="170259" h="327517">
                  <a:moveTo>
                    <a:pt x="170259" y="0"/>
                  </a:moveTo>
                  <a:lnTo>
                    <a:pt x="170259" y="41481"/>
                  </a:lnTo>
                  <a:cubicBezTo>
                    <a:pt x="146320" y="41481"/>
                    <a:pt x="124960" y="46022"/>
                    <a:pt x="106180" y="55102"/>
                  </a:cubicBezTo>
                  <a:cubicBezTo>
                    <a:pt x="87400" y="64183"/>
                    <a:pt x="72747" y="76875"/>
                    <a:pt x="62222" y="93178"/>
                  </a:cubicBezTo>
                  <a:cubicBezTo>
                    <a:pt x="51697" y="109482"/>
                    <a:pt x="46434" y="127953"/>
                    <a:pt x="46434" y="148590"/>
                  </a:cubicBezTo>
                  <a:lnTo>
                    <a:pt x="46434" y="327517"/>
                  </a:lnTo>
                  <a:lnTo>
                    <a:pt x="0" y="327517"/>
                  </a:lnTo>
                  <a:lnTo>
                    <a:pt x="0" y="7430"/>
                  </a:lnTo>
                  <a:lnTo>
                    <a:pt x="46434" y="7430"/>
                  </a:lnTo>
                  <a:lnTo>
                    <a:pt x="46434" y="69961"/>
                  </a:lnTo>
                  <a:cubicBezTo>
                    <a:pt x="55927" y="48498"/>
                    <a:pt x="71612" y="31472"/>
                    <a:pt x="93488" y="18883"/>
                  </a:cubicBezTo>
                  <a:cubicBezTo>
                    <a:pt x="115364" y="6294"/>
                    <a:pt x="140954" y="0"/>
                    <a:pt x="17025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B5491C69-6B3D-4C4E-A712-AAE6470473FA}"/>
                </a:ext>
              </a:extLst>
            </p:cNvPr>
            <p:cNvSpPr txBox="1">
              <a:spLocks/>
            </p:cNvSpPr>
            <p:nvPr/>
          </p:nvSpPr>
          <p:spPr>
            <a:xfrm>
              <a:off x="3976917" y="2275917"/>
              <a:ext cx="329994" cy="334947"/>
            </a:xfrm>
            <a:custGeom>
              <a:avLst/>
              <a:gdLst/>
              <a:ahLst/>
              <a:cxnLst/>
              <a:rect l="l" t="t" r="r" b="b"/>
              <a:pathLst>
                <a:path w="329994" h="334947">
                  <a:moveTo>
                    <a:pt x="165307" y="0"/>
                  </a:moveTo>
                  <a:cubicBezTo>
                    <a:pt x="195025" y="0"/>
                    <a:pt x="222473" y="7533"/>
                    <a:pt x="247650" y="22598"/>
                  </a:cubicBezTo>
                  <a:cubicBezTo>
                    <a:pt x="272828" y="37663"/>
                    <a:pt x="292847" y="57991"/>
                    <a:pt x="307706" y="83582"/>
                  </a:cubicBezTo>
                  <a:cubicBezTo>
                    <a:pt x="322565" y="109172"/>
                    <a:pt x="329994" y="137033"/>
                    <a:pt x="329994" y="167164"/>
                  </a:cubicBezTo>
                  <a:cubicBezTo>
                    <a:pt x="329994" y="197295"/>
                    <a:pt x="322565" y="225258"/>
                    <a:pt x="307706" y="251055"/>
                  </a:cubicBezTo>
                  <a:cubicBezTo>
                    <a:pt x="292847" y="276852"/>
                    <a:pt x="272828" y="297283"/>
                    <a:pt x="247650" y="312349"/>
                  </a:cubicBezTo>
                  <a:cubicBezTo>
                    <a:pt x="222473" y="327414"/>
                    <a:pt x="195025" y="334947"/>
                    <a:pt x="165307" y="334947"/>
                  </a:cubicBezTo>
                  <a:cubicBezTo>
                    <a:pt x="135589" y="334947"/>
                    <a:pt x="108038" y="327414"/>
                    <a:pt x="82654" y="312349"/>
                  </a:cubicBezTo>
                  <a:cubicBezTo>
                    <a:pt x="57270" y="297283"/>
                    <a:pt x="37148" y="276852"/>
                    <a:pt x="22289" y="251055"/>
                  </a:cubicBezTo>
                  <a:cubicBezTo>
                    <a:pt x="7430" y="225258"/>
                    <a:pt x="0" y="197295"/>
                    <a:pt x="0" y="167164"/>
                  </a:cubicBezTo>
                  <a:cubicBezTo>
                    <a:pt x="0" y="137033"/>
                    <a:pt x="7430" y="109172"/>
                    <a:pt x="22289" y="83582"/>
                  </a:cubicBezTo>
                  <a:cubicBezTo>
                    <a:pt x="37148" y="57991"/>
                    <a:pt x="57270" y="37663"/>
                    <a:pt x="82654" y="22598"/>
                  </a:cubicBezTo>
                  <a:cubicBezTo>
                    <a:pt x="108038" y="7533"/>
                    <a:pt x="135589" y="0"/>
                    <a:pt x="165307" y="0"/>
                  </a:cubicBezTo>
                  <a:close/>
                  <a:moveTo>
                    <a:pt x="165307" y="41481"/>
                  </a:moveTo>
                  <a:cubicBezTo>
                    <a:pt x="144257" y="41481"/>
                    <a:pt x="124754" y="47157"/>
                    <a:pt x="106799" y="58507"/>
                  </a:cubicBezTo>
                  <a:cubicBezTo>
                    <a:pt x="88845" y="69858"/>
                    <a:pt x="74605" y="85130"/>
                    <a:pt x="64080" y="104323"/>
                  </a:cubicBezTo>
                  <a:cubicBezTo>
                    <a:pt x="53555" y="123515"/>
                    <a:pt x="48292" y="144463"/>
                    <a:pt x="48292" y="167164"/>
                  </a:cubicBezTo>
                  <a:cubicBezTo>
                    <a:pt x="48292" y="189865"/>
                    <a:pt x="53555" y="210915"/>
                    <a:pt x="64080" y="230314"/>
                  </a:cubicBezTo>
                  <a:cubicBezTo>
                    <a:pt x="74605" y="249714"/>
                    <a:pt x="88845" y="265089"/>
                    <a:pt x="106799" y="276439"/>
                  </a:cubicBezTo>
                  <a:cubicBezTo>
                    <a:pt x="124754" y="287790"/>
                    <a:pt x="144257" y="293465"/>
                    <a:pt x="165307" y="293465"/>
                  </a:cubicBezTo>
                  <a:cubicBezTo>
                    <a:pt x="186357" y="293465"/>
                    <a:pt x="205756" y="287790"/>
                    <a:pt x="223505" y="276439"/>
                  </a:cubicBezTo>
                  <a:cubicBezTo>
                    <a:pt x="241253" y="265089"/>
                    <a:pt x="255390" y="249714"/>
                    <a:pt x="265915" y="230314"/>
                  </a:cubicBezTo>
                  <a:cubicBezTo>
                    <a:pt x="276440" y="210915"/>
                    <a:pt x="281702" y="189865"/>
                    <a:pt x="281702" y="167164"/>
                  </a:cubicBezTo>
                  <a:cubicBezTo>
                    <a:pt x="281702" y="144463"/>
                    <a:pt x="276440" y="123515"/>
                    <a:pt x="265915" y="104323"/>
                  </a:cubicBezTo>
                  <a:cubicBezTo>
                    <a:pt x="255390" y="85130"/>
                    <a:pt x="241253" y="69858"/>
                    <a:pt x="223505" y="58507"/>
                  </a:cubicBezTo>
                  <a:cubicBezTo>
                    <a:pt x="205756" y="47157"/>
                    <a:pt x="186357" y="41481"/>
                    <a:pt x="165307" y="4148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ED07AB51-93C8-42B3-BDB7-A2C7B1E8F5E3}"/>
                </a:ext>
              </a:extLst>
            </p:cNvPr>
            <p:cNvSpPr txBox="1">
              <a:spLocks/>
            </p:cNvSpPr>
            <p:nvPr/>
          </p:nvSpPr>
          <p:spPr>
            <a:xfrm>
              <a:off x="4385778" y="2275917"/>
              <a:ext cx="310182" cy="434007"/>
            </a:xfrm>
            <a:custGeom>
              <a:avLst/>
              <a:gdLst/>
              <a:ahLst/>
              <a:cxnLst/>
              <a:rect l="l" t="t" r="r" b="b"/>
              <a:pathLst>
                <a:path w="310182" h="434007">
                  <a:moveTo>
                    <a:pt x="162830" y="0"/>
                  </a:moveTo>
                  <a:cubicBezTo>
                    <a:pt x="190484" y="0"/>
                    <a:pt x="215559" y="7120"/>
                    <a:pt x="238053" y="21360"/>
                  </a:cubicBezTo>
                  <a:cubicBezTo>
                    <a:pt x="260548" y="35600"/>
                    <a:pt x="278193" y="55412"/>
                    <a:pt x="290989" y="80796"/>
                  </a:cubicBezTo>
                  <a:cubicBezTo>
                    <a:pt x="303784" y="106180"/>
                    <a:pt x="310182" y="134969"/>
                    <a:pt x="310182" y="167164"/>
                  </a:cubicBezTo>
                  <a:cubicBezTo>
                    <a:pt x="310182" y="199358"/>
                    <a:pt x="303784" y="228251"/>
                    <a:pt x="290989" y="253841"/>
                  </a:cubicBezTo>
                  <a:cubicBezTo>
                    <a:pt x="278193" y="279432"/>
                    <a:pt x="260548" y="299347"/>
                    <a:pt x="238053" y="313587"/>
                  </a:cubicBezTo>
                  <a:cubicBezTo>
                    <a:pt x="215559" y="327827"/>
                    <a:pt x="190484" y="334947"/>
                    <a:pt x="162830" y="334947"/>
                  </a:cubicBezTo>
                  <a:cubicBezTo>
                    <a:pt x="137652" y="334947"/>
                    <a:pt x="115054" y="329065"/>
                    <a:pt x="95035" y="317302"/>
                  </a:cubicBezTo>
                  <a:cubicBezTo>
                    <a:pt x="75018" y="305538"/>
                    <a:pt x="58817" y="288925"/>
                    <a:pt x="46434" y="267462"/>
                  </a:cubicBezTo>
                  <a:lnTo>
                    <a:pt x="46434" y="434007"/>
                  </a:lnTo>
                  <a:lnTo>
                    <a:pt x="0" y="434007"/>
                  </a:lnTo>
                  <a:lnTo>
                    <a:pt x="0" y="7430"/>
                  </a:lnTo>
                  <a:lnTo>
                    <a:pt x="46434" y="7430"/>
                  </a:lnTo>
                  <a:lnTo>
                    <a:pt x="46434" y="67485"/>
                  </a:lnTo>
                  <a:cubicBezTo>
                    <a:pt x="58817" y="46022"/>
                    <a:pt x="75018" y="29408"/>
                    <a:pt x="95035" y="17645"/>
                  </a:cubicBezTo>
                  <a:cubicBezTo>
                    <a:pt x="115054" y="5882"/>
                    <a:pt x="137652" y="0"/>
                    <a:pt x="162830" y="0"/>
                  </a:cubicBezTo>
                  <a:close/>
                  <a:moveTo>
                    <a:pt x="154162" y="41481"/>
                  </a:moveTo>
                  <a:cubicBezTo>
                    <a:pt x="133525" y="41481"/>
                    <a:pt x="114951" y="46847"/>
                    <a:pt x="98441" y="57579"/>
                  </a:cubicBezTo>
                  <a:cubicBezTo>
                    <a:pt x="81931" y="68310"/>
                    <a:pt x="69136" y="83169"/>
                    <a:pt x="60055" y="102156"/>
                  </a:cubicBezTo>
                  <a:cubicBezTo>
                    <a:pt x="50974" y="121142"/>
                    <a:pt x="46434" y="142812"/>
                    <a:pt x="46434" y="167164"/>
                  </a:cubicBezTo>
                  <a:cubicBezTo>
                    <a:pt x="46434" y="191516"/>
                    <a:pt x="50974" y="213289"/>
                    <a:pt x="60055" y="232481"/>
                  </a:cubicBezTo>
                  <a:cubicBezTo>
                    <a:pt x="69136" y="251674"/>
                    <a:pt x="81931" y="266637"/>
                    <a:pt x="98441" y="277368"/>
                  </a:cubicBezTo>
                  <a:cubicBezTo>
                    <a:pt x="114951" y="288100"/>
                    <a:pt x="133525" y="293465"/>
                    <a:pt x="154162" y="293465"/>
                  </a:cubicBezTo>
                  <a:cubicBezTo>
                    <a:pt x="174799" y="293465"/>
                    <a:pt x="193270" y="288100"/>
                    <a:pt x="209574" y="277368"/>
                  </a:cubicBezTo>
                  <a:cubicBezTo>
                    <a:pt x="225877" y="266637"/>
                    <a:pt x="238569" y="251674"/>
                    <a:pt x="247650" y="232481"/>
                  </a:cubicBezTo>
                  <a:cubicBezTo>
                    <a:pt x="256731" y="213289"/>
                    <a:pt x="261271" y="191516"/>
                    <a:pt x="261271" y="167164"/>
                  </a:cubicBezTo>
                  <a:cubicBezTo>
                    <a:pt x="261271" y="142812"/>
                    <a:pt x="256731" y="121142"/>
                    <a:pt x="247650" y="102156"/>
                  </a:cubicBezTo>
                  <a:cubicBezTo>
                    <a:pt x="238569" y="83169"/>
                    <a:pt x="225877" y="68310"/>
                    <a:pt x="209574" y="57579"/>
                  </a:cubicBezTo>
                  <a:cubicBezTo>
                    <a:pt x="193270" y="46847"/>
                    <a:pt x="174799" y="41481"/>
                    <a:pt x="154162" y="4148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047A2D20-1802-410D-9F0E-D83DA9A2E647}"/>
                </a:ext>
              </a:extLst>
            </p:cNvPr>
            <p:cNvSpPr txBox="1">
              <a:spLocks/>
            </p:cNvSpPr>
            <p:nvPr/>
          </p:nvSpPr>
          <p:spPr>
            <a:xfrm>
              <a:off x="4748442" y="2275917"/>
              <a:ext cx="329994" cy="334947"/>
            </a:xfrm>
            <a:custGeom>
              <a:avLst/>
              <a:gdLst/>
              <a:ahLst/>
              <a:cxnLst/>
              <a:rect l="l" t="t" r="r" b="b"/>
              <a:pathLst>
                <a:path w="329994" h="334947">
                  <a:moveTo>
                    <a:pt x="165307" y="0"/>
                  </a:moveTo>
                  <a:cubicBezTo>
                    <a:pt x="195025" y="0"/>
                    <a:pt x="222472" y="7533"/>
                    <a:pt x="247651" y="22598"/>
                  </a:cubicBezTo>
                  <a:cubicBezTo>
                    <a:pt x="272828" y="37663"/>
                    <a:pt x="292847" y="57991"/>
                    <a:pt x="307706" y="83582"/>
                  </a:cubicBezTo>
                  <a:cubicBezTo>
                    <a:pt x="322565" y="109172"/>
                    <a:pt x="329994" y="137033"/>
                    <a:pt x="329994" y="167164"/>
                  </a:cubicBezTo>
                  <a:cubicBezTo>
                    <a:pt x="329994" y="197295"/>
                    <a:pt x="322565" y="225258"/>
                    <a:pt x="307706" y="251055"/>
                  </a:cubicBezTo>
                  <a:cubicBezTo>
                    <a:pt x="292847" y="276852"/>
                    <a:pt x="272828" y="297283"/>
                    <a:pt x="247651" y="312349"/>
                  </a:cubicBezTo>
                  <a:cubicBezTo>
                    <a:pt x="222472" y="327414"/>
                    <a:pt x="195025" y="334947"/>
                    <a:pt x="165307" y="334947"/>
                  </a:cubicBezTo>
                  <a:cubicBezTo>
                    <a:pt x="135589" y="334947"/>
                    <a:pt x="108038" y="327414"/>
                    <a:pt x="82654" y="312349"/>
                  </a:cubicBezTo>
                  <a:cubicBezTo>
                    <a:pt x="57269" y="297283"/>
                    <a:pt x="37148" y="276852"/>
                    <a:pt x="22289" y="251055"/>
                  </a:cubicBezTo>
                  <a:cubicBezTo>
                    <a:pt x="7430" y="225258"/>
                    <a:pt x="0" y="197295"/>
                    <a:pt x="0" y="167164"/>
                  </a:cubicBezTo>
                  <a:cubicBezTo>
                    <a:pt x="0" y="137033"/>
                    <a:pt x="7430" y="109172"/>
                    <a:pt x="22289" y="83582"/>
                  </a:cubicBezTo>
                  <a:cubicBezTo>
                    <a:pt x="37148" y="57991"/>
                    <a:pt x="57269" y="37663"/>
                    <a:pt x="82654" y="22598"/>
                  </a:cubicBezTo>
                  <a:cubicBezTo>
                    <a:pt x="108038" y="7533"/>
                    <a:pt x="135589" y="0"/>
                    <a:pt x="165307" y="0"/>
                  </a:cubicBezTo>
                  <a:close/>
                  <a:moveTo>
                    <a:pt x="165307" y="41481"/>
                  </a:moveTo>
                  <a:cubicBezTo>
                    <a:pt x="144257" y="41481"/>
                    <a:pt x="124754" y="47157"/>
                    <a:pt x="106800" y="58507"/>
                  </a:cubicBezTo>
                  <a:cubicBezTo>
                    <a:pt x="88845" y="69858"/>
                    <a:pt x="74605" y="85130"/>
                    <a:pt x="64080" y="104323"/>
                  </a:cubicBezTo>
                  <a:cubicBezTo>
                    <a:pt x="53555" y="123515"/>
                    <a:pt x="48292" y="144463"/>
                    <a:pt x="48292" y="167164"/>
                  </a:cubicBezTo>
                  <a:cubicBezTo>
                    <a:pt x="48292" y="189865"/>
                    <a:pt x="53555" y="210915"/>
                    <a:pt x="64080" y="230314"/>
                  </a:cubicBezTo>
                  <a:cubicBezTo>
                    <a:pt x="74605" y="249714"/>
                    <a:pt x="88845" y="265089"/>
                    <a:pt x="106800" y="276439"/>
                  </a:cubicBezTo>
                  <a:cubicBezTo>
                    <a:pt x="124754" y="287790"/>
                    <a:pt x="144257" y="293465"/>
                    <a:pt x="165307" y="293465"/>
                  </a:cubicBezTo>
                  <a:cubicBezTo>
                    <a:pt x="186357" y="293465"/>
                    <a:pt x="205756" y="287790"/>
                    <a:pt x="223505" y="276439"/>
                  </a:cubicBezTo>
                  <a:cubicBezTo>
                    <a:pt x="241253" y="265089"/>
                    <a:pt x="255390" y="249714"/>
                    <a:pt x="265915" y="230314"/>
                  </a:cubicBezTo>
                  <a:cubicBezTo>
                    <a:pt x="276440" y="210915"/>
                    <a:pt x="281702" y="189865"/>
                    <a:pt x="281702" y="167164"/>
                  </a:cubicBezTo>
                  <a:cubicBezTo>
                    <a:pt x="281702" y="144463"/>
                    <a:pt x="276440" y="123515"/>
                    <a:pt x="265915" y="104323"/>
                  </a:cubicBezTo>
                  <a:cubicBezTo>
                    <a:pt x="255390" y="85130"/>
                    <a:pt x="241253" y="69858"/>
                    <a:pt x="223505" y="58507"/>
                  </a:cubicBezTo>
                  <a:cubicBezTo>
                    <a:pt x="205756" y="47157"/>
                    <a:pt x="186357" y="41481"/>
                    <a:pt x="165307" y="4148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C0F960C2-D281-4BC9-BACA-B4004C0AB29F}"/>
                </a:ext>
              </a:extLst>
            </p:cNvPr>
            <p:cNvSpPr txBox="1">
              <a:spLocks/>
            </p:cNvSpPr>
            <p:nvPr/>
          </p:nvSpPr>
          <p:spPr>
            <a:xfrm>
              <a:off x="5428671" y="2275917"/>
              <a:ext cx="249506" cy="334947"/>
            </a:xfrm>
            <a:custGeom>
              <a:avLst/>
              <a:gdLst/>
              <a:ahLst/>
              <a:cxnLst/>
              <a:rect l="l" t="t" r="r" b="b"/>
              <a:pathLst>
                <a:path w="249506" h="334947">
                  <a:moveTo>
                    <a:pt x="127539" y="0"/>
                  </a:moveTo>
                  <a:cubicBezTo>
                    <a:pt x="146938" y="0"/>
                    <a:pt x="166544" y="3199"/>
                    <a:pt x="186356" y="9596"/>
                  </a:cubicBezTo>
                  <a:cubicBezTo>
                    <a:pt x="206168" y="15994"/>
                    <a:pt x="224742" y="24765"/>
                    <a:pt x="242077" y="35909"/>
                  </a:cubicBezTo>
                  <a:lnTo>
                    <a:pt x="219789" y="71819"/>
                  </a:lnTo>
                  <a:cubicBezTo>
                    <a:pt x="188007" y="51594"/>
                    <a:pt x="157257" y="41481"/>
                    <a:pt x="127539" y="41481"/>
                  </a:cubicBezTo>
                  <a:cubicBezTo>
                    <a:pt x="108553" y="41481"/>
                    <a:pt x="92868" y="45609"/>
                    <a:pt x="80486" y="53864"/>
                  </a:cubicBezTo>
                  <a:cubicBezTo>
                    <a:pt x="68103" y="62119"/>
                    <a:pt x="61912" y="73676"/>
                    <a:pt x="61912" y="88535"/>
                  </a:cubicBezTo>
                  <a:cubicBezTo>
                    <a:pt x="61912" y="97615"/>
                    <a:pt x="64594" y="105045"/>
                    <a:pt x="69960" y="110823"/>
                  </a:cubicBezTo>
                  <a:cubicBezTo>
                    <a:pt x="75326" y="116602"/>
                    <a:pt x="83375" y="121761"/>
                    <a:pt x="94107" y="126302"/>
                  </a:cubicBezTo>
                  <a:cubicBezTo>
                    <a:pt x="104838" y="130842"/>
                    <a:pt x="121761" y="136827"/>
                    <a:pt x="144875" y="144256"/>
                  </a:cubicBezTo>
                  <a:cubicBezTo>
                    <a:pt x="167576" y="151273"/>
                    <a:pt x="185943" y="158083"/>
                    <a:pt x="199977" y="164687"/>
                  </a:cubicBezTo>
                  <a:cubicBezTo>
                    <a:pt x="214010" y="171291"/>
                    <a:pt x="225774" y="180475"/>
                    <a:pt x="235267" y="192238"/>
                  </a:cubicBezTo>
                  <a:cubicBezTo>
                    <a:pt x="244760" y="204002"/>
                    <a:pt x="249506" y="219377"/>
                    <a:pt x="249506" y="238363"/>
                  </a:cubicBezTo>
                  <a:cubicBezTo>
                    <a:pt x="249506" y="267256"/>
                    <a:pt x="238466" y="290576"/>
                    <a:pt x="216383" y="308324"/>
                  </a:cubicBezTo>
                  <a:cubicBezTo>
                    <a:pt x="194301" y="326073"/>
                    <a:pt x="166338" y="334947"/>
                    <a:pt x="132492" y="334947"/>
                  </a:cubicBezTo>
                  <a:cubicBezTo>
                    <a:pt x="109791" y="334947"/>
                    <a:pt x="86780" y="330819"/>
                    <a:pt x="63460" y="322564"/>
                  </a:cubicBezTo>
                  <a:cubicBezTo>
                    <a:pt x="40139" y="314309"/>
                    <a:pt x="18986" y="302546"/>
                    <a:pt x="0" y="287274"/>
                  </a:cubicBezTo>
                  <a:lnTo>
                    <a:pt x="24145" y="253222"/>
                  </a:lnTo>
                  <a:cubicBezTo>
                    <a:pt x="60880" y="280051"/>
                    <a:pt x="96995" y="293465"/>
                    <a:pt x="132492" y="293465"/>
                  </a:cubicBezTo>
                  <a:cubicBezTo>
                    <a:pt x="153543" y="293465"/>
                    <a:pt x="170568" y="288925"/>
                    <a:pt x="183570" y="279845"/>
                  </a:cubicBezTo>
                  <a:cubicBezTo>
                    <a:pt x="196572" y="270764"/>
                    <a:pt x="203073" y="258588"/>
                    <a:pt x="203073" y="243316"/>
                  </a:cubicBezTo>
                  <a:cubicBezTo>
                    <a:pt x="203073" y="232585"/>
                    <a:pt x="199564" y="223607"/>
                    <a:pt x="192547" y="216384"/>
                  </a:cubicBezTo>
                  <a:cubicBezTo>
                    <a:pt x="185531" y="209161"/>
                    <a:pt x="176760" y="203486"/>
                    <a:pt x="166235" y="199358"/>
                  </a:cubicBezTo>
                  <a:cubicBezTo>
                    <a:pt x="155709" y="195231"/>
                    <a:pt x="141160" y="190484"/>
                    <a:pt x="122586" y="185118"/>
                  </a:cubicBezTo>
                  <a:cubicBezTo>
                    <a:pt x="83375" y="173974"/>
                    <a:pt x="55721" y="161695"/>
                    <a:pt x="39624" y="148280"/>
                  </a:cubicBezTo>
                  <a:cubicBezTo>
                    <a:pt x="23526" y="134866"/>
                    <a:pt x="15478" y="116808"/>
                    <a:pt x="15478" y="94107"/>
                  </a:cubicBezTo>
                  <a:cubicBezTo>
                    <a:pt x="15478" y="65627"/>
                    <a:pt x="26003" y="42823"/>
                    <a:pt x="47053" y="25694"/>
                  </a:cubicBezTo>
                  <a:cubicBezTo>
                    <a:pt x="68103" y="8565"/>
                    <a:pt x="94932" y="0"/>
                    <a:pt x="12753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EAD02CAE-EA62-46F9-AF21-428066FCE7DE}"/>
                </a:ext>
              </a:extLst>
            </p:cNvPr>
            <p:cNvSpPr txBox="1">
              <a:spLocks/>
            </p:cNvSpPr>
            <p:nvPr/>
          </p:nvSpPr>
          <p:spPr>
            <a:xfrm>
              <a:off x="5309703" y="2283347"/>
              <a:ext cx="46435" cy="320087"/>
            </a:xfrm>
            <a:custGeom>
              <a:avLst/>
              <a:gdLst/>
              <a:ahLst/>
              <a:cxnLst/>
              <a:rect l="l" t="t" r="r" b="b"/>
              <a:pathLst>
                <a:path w="46435" h="320087">
                  <a:moveTo>
                    <a:pt x="0" y="0"/>
                  </a:moveTo>
                  <a:lnTo>
                    <a:pt x="46435" y="0"/>
                  </a:lnTo>
                  <a:lnTo>
                    <a:pt x="46435" y="320087"/>
                  </a:lnTo>
                  <a:lnTo>
                    <a:pt x="0" y="32008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425995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0" name="Group 59">
            <a:extLst>
              <a:ext uri="{FF2B5EF4-FFF2-40B4-BE49-F238E27FC236}">
                <a16:creationId xmlns:a16="http://schemas.microsoft.com/office/drawing/2014/main" id="{8442F8FF-5DB1-44B3-AF2C-1A531EA36FEA}"/>
              </a:ext>
            </a:extLst>
          </p:cNvPr>
          <p:cNvGrpSpPr/>
          <p:nvPr userDrawn="1"/>
        </p:nvGrpSpPr>
        <p:grpSpPr bwMode="gray">
          <a:xfrm>
            <a:off x="0" y="0"/>
            <a:ext cx="12188826" cy="6858004"/>
            <a:chOff x="0" y="-4"/>
            <a:chExt cx="12188826" cy="6858004"/>
          </a:xfrm>
        </p:grpSpPr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E2F285D2-B641-461F-87F0-20A9C65B2EF7}"/>
                </a:ext>
              </a:extLst>
            </p:cNvPr>
            <p:cNvGrpSpPr/>
            <p:nvPr/>
          </p:nvGrpSpPr>
          <p:grpSpPr bwMode="gray">
            <a:xfrm>
              <a:off x="609441" y="1600198"/>
              <a:ext cx="10055941" cy="4580469"/>
              <a:chOff x="609441" y="1600198"/>
              <a:chExt cx="10055941" cy="4580469"/>
            </a:xfrm>
          </p:grpSpPr>
          <p:sp>
            <p:nvSpPr>
              <p:cNvPr id="110" name="Rectangle 109">
                <a:extLst>
                  <a:ext uri="{FF2B5EF4-FFF2-40B4-BE49-F238E27FC236}">
                    <a16:creationId xmlns:a16="http://schemas.microsoft.com/office/drawing/2014/main" id="{115EE1AC-AAA1-4CAF-886B-474B1A0C95C4}"/>
                  </a:ext>
                </a:extLst>
              </p:cNvPr>
              <p:cNvSpPr/>
              <p:nvPr/>
            </p:nvSpPr>
            <p:spPr bwMode="gray">
              <a:xfrm>
                <a:off x="609441" y="1600199"/>
                <a:ext cx="914203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11" name="Rectangle 110">
                <a:extLst>
                  <a:ext uri="{FF2B5EF4-FFF2-40B4-BE49-F238E27FC236}">
                    <a16:creationId xmlns:a16="http://schemas.microsoft.com/office/drawing/2014/main" id="{7037B7F2-249C-4DB7-A4FF-AD7E08892A0F}"/>
                  </a:ext>
                </a:extLst>
              </p:cNvPr>
              <p:cNvSpPr/>
              <p:nvPr/>
            </p:nvSpPr>
            <p:spPr bwMode="gray">
              <a:xfrm>
                <a:off x="2436448" y="1600198"/>
                <a:ext cx="915282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12" name="Rectangle 111">
                <a:extLst>
                  <a:ext uri="{FF2B5EF4-FFF2-40B4-BE49-F238E27FC236}">
                    <a16:creationId xmlns:a16="http://schemas.microsoft.com/office/drawing/2014/main" id="{6B02FE08-2379-4E6C-AE27-D7D2ECAB18B8}"/>
                  </a:ext>
                </a:extLst>
              </p:cNvPr>
              <p:cNvSpPr/>
              <p:nvPr/>
            </p:nvSpPr>
            <p:spPr bwMode="gray">
              <a:xfrm>
                <a:off x="4263453" y="1600198"/>
                <a:ext cx="920909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13" name="Rectangle 112">
                <a:extLst>
                  <a:ext uri="{FF2B5EF4-FFF2-40B4-BE49-F238E27FC236}">
                    <a16:creationId xmlns:a16="http://schemas.microsoft.com/office/drawing/2014/main" id="{D7C17E9A-3B70-4668-8EAE-9C7D73BACCA1}"/>
                  </a:ext>
                </a:extLst>
              </p:cNvPr>
              <p:cNvSpPr/>
              <p:nvPr/>
            </p:nvSpPr>
            <p:spPr bwMode="gray">
              <a:xfrm>
                <a:off x="6090459" y="1600198"/>
                <a:ext cx="920909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14" name="Rectangle 113">
                <a:extLst>
                  <a:ext uri="{FF2B5EF4-FFF2-40B4-BE49-F238E27FC236}">
                    <a16:creationId xmlns:a16="http://schemas.microsoft.com/office/drawing/2014/main" id="{E02751E5-34AD-4357-BC67-2269F668FD57}"/>
                  </a:ext>
                </a:extLst>
              </p:cNvPr>
              <p:cNvSpPr/>
              <p:nvPr/>
            </p:nvSpPr>
            <p:spPr bwMode="gray">
              <a:xfrm>
                <a:off x="7921943" y="1600198"/>
                <a:ext cx="916431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15" name="Rectangle 114">
                <a:extLst>
                  <a:ext uri="{FF2B5EF4-FFF2-40B4-BE49-F238E27FC236}">
                    <a16:creationId xmlns:a16="http://schemas.microsoft.com/office/drawing/2014/main" id="{452A85DA-B39F-40AB-B423-9F7CCB3D0D63}"/>
                  </a:ext>
                </a:extLst>
              </p:cNvPr>
              <p:cNvSpPr/>
              <p:nvPr/>
            </p:nvSpPr>
            <p:spPr bwMode="gray">
              <a:xfrm>
                <a:off x="9750028" y="1600198"/>
                <a:ext cx="915354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C5C1459D-4F6E-4671-8566-3143311EA541}"/>
                </a:ext>
              </a:extLst>
            </p:cNvPr>
            <p:cNvGrpSpPr/>
            <p:nvPr userDrawn="1"/>
          </p:nvGrpSpPr>
          <p:grpSpPr bwMode="gray">
            <a:xfrm>
              <a:off x="0" y="-4"/>
              <a:ext cx="12188826" cy="6858004"/>
              <a:chOff x="0" y="-4"/>
              <a:chExt cx="12188826" cy="6858004"/>
            </a:xfrm>
          </p:grpSpPr>
          <p:grpSp>
            <p:nvGrpSpPr>
              <p:cNvPr id="63" name="Group 62">
                <a:extLst>
                  <a:ext uri="{FF2B5EF4-FFF2-40B4-BE49-F238E27FC236}">
                    <a16:creationId xmlns:a16="http://schemas.microsoft.com/office/drawing/2014/main" id="{015AFD00-19E3-4F92-9570-1F3E8AEC3EC4}"/>
                  </a:ext>
                </a:extLst>
              </p:cNvPr>
              <p:cNvGrpSpPr/>
              <p:nvPr>
                <p:custDataLst>
                  <p:tags r:id="rId1"/>
                </p:custDataLst>
              </p:nvPr>
            </p:nvGrpSpPr>
            <p:grpSpPr bwMode="gray">
              <a:xfrm>
                <a:off x="0" y="-4"/>
                <a:ext cx="12188826" cy="6858004"/>
                <a:chOff x="0" y="1"/>
                <a:chExt cx="12188826" cy="6858004"/>
              </a:xfrm>
            </p:grpSpPr>
            <p:grpSp>
              <p:nvGrpSpPr>
                <p:cNvPr id="65" name="Group 64">
                  <a:extLst>
                    <a:ext uri="{FF2B5EF4-FFF2-40B4-BE49-F238E27FC236}">
                      <a16:creationId xmlns:a16="http://schemas.microsoft.com/office/drawing/2014/main" id="{56B51E9A-9BC0-4A23-95C7-9E14C94FDF8A}"/>
                    </a:ext>
                  </a:extLst>
                </p:cNvPr>
                <p:cNvGrpSpPr/>
                <p:nvPr/>
              </p:nvGrpSpPr>
              <p:grpSpPr bwMode="gray">
                <a:xfrm>
                  <a:off x="609601" y="2684"/>
                  <a:ext cx="10962504" cy="6855315"/>
                  <a:chOff x="0" y="0"/>
                  <a:chExt cx="10962504" cy="6858000"/>
                </a:xfrm>
              </p:grpSpPr>
              <p:cxnSp>
                <p:nvCxnSpPr>
                  <p:cNvPr id="85" name="Straight Connector 84">
                    <a:extLst>
                      <a:ext uri="{FF2B5EF4-FFF2-40B4-BE49-F238E27FC236}">
                        <a16:creationId xmlns:a16="http://schemas.microsoft.com/office/drawing/2014/main" id="{5B6B4CFD-041A-4081-89A4-C2B194E6465E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0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6" name="Straight Connector 85">
                    <a:extLst>
                      <a:ext uri="{FF2B5EF4-FFF2-40B4-BE49-F238E27FC236}">
                        <a16:creationId xmlns:a16="http://schemas.microsoft.com/office/drawing/2014/main" id="{C63B978F-4215-434A-A0BE-E77776CE37B1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914043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7" name="Straight Connector 86">
                    <a:extLst>
                      <a:ext uri="{FF2B5EF4-FFF2-40B4-BE49-F238E27FC236}">
                        <a16:creationId xmlns:a16="http://schemas.microsoft.com/office/drawing/2014/main" id="{09EEB78C-3DA9-4AD7-BFB1-207EDE403F9D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1371064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8" name="Straight Connector 87">
                    <a:extLst>
                      <a:ext uri="{FF2B5EF4-FFF2-40B4-BE49-F238E27FC236}">
                        <a16:creationId xmlns:a16="http://schemas.microsoft.com/office/drawing/2014/main" id="{F062D7CE-4A4A-4C41-833F-B30B3E74AEAC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1828085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9" name="Straight Connector 88">
                    <a:extLst>
                      <a:ext uri="{FF2B5EF4-FFF2-40B4-BE49-F238E27FC236}">
                        <a16:creationId xmlns:a16="http://schemas.microsoft.com/office/drawing/2014/main" id="{19C628EF-969E-4429-A992-9AD0AFECF81E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2285107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0" name="Straight Connector 89">
                    <a:extLst>
                      <a:ext uri="{FF2B5EF4-FFF2-40B4-BE49-F238E27FC236}">
                        <a16:creationId xmlns:a16="http://schemas.microsoft.com/office/drawing/2014/main" id="{8C7BD383-0D5C-4E3A-99F7-4DC5A51DF948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2742128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1" name="Straight Connector 90">
                    <a:extLst>
                      <a:ext uri="{FF2B5EF4-FFF2-40B4-BE49-F238E27FC236}">
                        <a16:creationId xmlns:a16="http://schemas.microsoft.com/office/drawing/2014/main" id="{FAA2EE63-4F24-4A26-9268-D15D92D5B068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3199149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2" name="Straight Connector 91">
                    <a:extLst>
                      <a:ext uri="{FF2B5EF4-FFF2-40B4-BE49-F238E27FC236}">
                        <a16:creationId xmlns:a16="http://schemas.microsoft.com/office/drawing/2014/main" id="{F64BB08D-864A-44D4-88F6-679DBAE518B7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3656171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3" name="Straight Connector 92">
                    <a:extLst>
                      <a:ext uri="{FF2B5EF4-FFF2-40B4-BE49-F238E27FC236}">
                        <a16:creationId xmlns:a16="http://schemas.microsoft.com/office/drawing/2014/main" id="{9FA3F8A1-60DA-47E1-92DD-967475B2DF58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4113192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4" name="Straight Connector 93">
                    <a:extLst>
                      <a:ext uri="{FF2B5EF4-FFF2-40B4-BE49-F238E27FC236}">
                        <a16:creationId xmlns:a16="http://schemas.microsoft.com/office/drawing/2014/main" id="{4DECF40D-CC60-45F8-B236-F9FAC1F3E8CF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4570213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5" name="Straight Connector 94">
                    <a:extLst>
                      <a:ext uri="{FF2B5EF4-FFF2-40B4-BE49-F238E27FC236}">
                        <a16:creationId xmlns:a16="http://schemas.microsoft.com/office/drawing/2014/main" id="{623BAEC6-A3C2-4892-9093-BD8EA8A7E0F6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5027235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6" name="Straight Connector 95">
                    <a:extLst>
                      <a:ext uri="{FF2B5EF4-FFF2-40B4-BE49-F238E27FC236}">
                        <a16:creationId xmlns:a16="http://schemas.microsoft.com/office/drawing/2014/main" id="{D4E16FB9-EDCA-4CA6-9212-0AEBFCE175D7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5484256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7" name="Straight Connector 96">
                    <a:extLst>
                      <a:ext uri="{FF2B5EF4-FFF2-40B4-BE49-F238E27FC236}">
                        <a16:creationId xmlns:a16="http://schemas.microsoft.com/office/drawing/2014/main" id="{F3AE637F-804F-4244-9AA9-FF4A629A143C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5941277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8" name="Straight Connector 97">
                    <a:extLst>
                      <a:ext uri="{FF2B5EF4-FFF2-40B4-BE49-F238E27FC236}">
                        <a16:creationId xmlns:a16="http://schemas.microsoft.com/office/drawing/2014/main" id="{5EFB8414-3949-428A-B700-7C38A44425B2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6398299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9" name="Straight Connector 98">
                    <a:extLst>
                      <a:ext uri="{FF2B5EF4-FFF2-40B4-BE49-F238E27FC236}">
                        <a16:creationId xmlns:a16="http://schemas.microsoft.com/office/drawing/2014/main" id="{BA61D1AB-B7D2-4169-B38F-56371D50E1DA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6855320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0" name="Straight Connector 99">
                    <a:extLst>
                      <a:ext uri="{FF2B5EF4-FFF2-40B4-BE49-F238E27FC236}">
                        <a16:creationId xmlns:a16="http://schemas.microsoft.com/office/drawing/2014/main" id="{D00C4593-A442-4B6C-8E9D-80BFEB1746D6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7312342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1" name="Straight Connector 100">
                    <a:extLst>
                      <a:ext uri="{FF2B5EF4-FFF2-40B4-BE49-F238E27FC236}">
                        <a16:creationId xmlns:a16="http://schemas.microsoft.com/office/drawing/2014/main" id="{95B5E413-FAFF-430F-B105-4D122D50AEE1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7769363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2" name="Straight Connector 101">
                    <a:extLst>
                      <a:ext uri="{FF2B5EF4-FFF2-40B4-BE49-F238E27FC236}">
                        <a16:creationId xmlns:a16="http://schemas.microsoft.com/office/drawing/2014/main" id="{2B845328-662D-4D12-A209-6A0B1E78DF14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8226384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3" name="Straight Connector 102">
                    <a:extLst>
                      <a:ext uri="{FF2B5EF4-FFF2-40B4-BE49-F238E27FC236}">
                        <a16:creationId xmlns:a16="http://schemas.microsoft.com/office/drawing/2014/main" id="{2AC19B5D-D919-4A48-953C-03994329E19B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9140427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4" name="Straight Connector 103">
                    <a:extLst>
                      <a:ext uri="{FF2B5EF4-FFF2-40B4-BE49-F238E27FC236}">
                        <a16:creationId xmlns:a16="http://schemas.microsoft.com/office/drawing/2014/main" id="{AC81C8DC-CB2F-445A-8F7B-5A864393B553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8683406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5" name="Straight Connector 104">
                    <a:extLst>
                      <a:ext uri="{FF2B5EF4-FFF2-40B4-BE49-F238E27FC236}">
                        <a16:creationId xmlns:a16="http://schemas.microsoft.com/office/drawing/2014/main" id="{F3CD9F68-6C35-4B43-B8E1-1ABF75D8D588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9597448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6" name="Straight Connector 105">
                    <a:extLst>
                      <a:ext uri="{FF2B5EF4-FFF2-40B4-BE49-F238E27FC236}">
                        <a16:creationId xmlns:a16="http://schemas.microsoft.com/office/drawing/2014/main" id="{BBBCE95B-721C-44A5-8B94-8F0E42FF53FE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10054470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7" name="Straight Connector 106">
                    <a:extLst>
                      <a:ext uri="{FF2B5EF4-FFF2-40B4-BE49-F238E27FC236}">
                        <a16:creationId xmlns:a16="http://schemas.microsoft.com/office/drawing/2014/main" id="{3B934F61-1ED7-4209-A1E3-04C68085B10E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10511491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8" name="Straight Connector 107">
                    <a:extLst>
                      <a:ext uri="{FF2B5EF4-FFF2-40B4-BE49-F238E27FC236}">
                        <a16:creationId xmlns:a16="http://schemas.microsoft.com/office/drawing/2014/main" id="{8F636E46-095E-439D-B78B-EBC72DB23290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457021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9" name="Straight Connector 108">
                    <a:extLst>
                      <a:ext uri="{FF2B5EF4-FFF2-40B4-BE49-F238E27FC236}">
                        <a16:creationId xmlns:a16="http://schemas.microsoft.com/office/drawing/2014/main" id="{61497272-E949-488B-B9F6-FD10BA6526BF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10962504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66" name="Group 65">
                  <a:extLst>
                    <a:ext uri="{FF2B5EF4-FFF2-40B4-BE49-F238E27FC236}">
                      <a16:creationId xmlns:a16="http://schemas.microsoft.com/office/drawing/2014/main" id="{B645DFBA-090A-4E89-BFE2-570C1D04D7A5}"/>
                    </a:ext>
                  </a:extLst>
                </p:cNvPr>
                <p:cNvGrpSpPr/>
                <p:nvPr/>
              </p:nvGrpSpPr>
              <p:grpSpPr bwMode="gray">
                <a:xfrm>
                  <a:off x="0" y="1"/>
                  <a:ext cx="12188826" cy="6858004"/>
                  <a:chOff x="0" y="1"/>
                  <a:chExt cx="12188826" cy="6858004"/>
                </a:xfrm>
              </p:grpSpPr>
              <p:cxnSp>
                <p:nvCxnSpPr>
                  <p:cNvPr id="67" name="Straight Connector 66">
                    <a:extLst>
                      <a:ext uri="{FF2B5EF4-FFF2-40B4-BE49-F238E27FC236}">
                        <a16:creationId xmlns:a16="http://schemas.microsoft.com/office/drawing/2014/main" id="{E34689D4-9BAE-40BF-B953-E1A0CA4F5C15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6094412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8" name="Straight Connector 67">
                    <a:extLst>
                      <a:ext uri="{FF2B5EF4-FFF2-40B4-BE49-F238E27FC236}">
                        <a16:creationId xmlns:a16="http://schemas.microsoft.com/office/drawing/2014/main" id="{674A3364-6F4C-4749-A110-B336801330E0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5637211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9" name="Straight Connector 68">
                    <a:extLst>
                      <a:ext uri="{FF2B5EF4-FFF2-40B4-BE49-F238E27FC236}">
                        <a16:creationId xmlns:a16="http://schemas.microsoft.com/office/drawing/2014/main" id="{690EC6B6-039D-4549-B1B1-8FF8A3FC2F66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5180011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0" name="Straight Connector 69">
                    <a:extLst>
                      <a:ext uri="{FF2B5EF4-FFF2-40B4-BE49-F238E27FC236}">
                        <a16:creationId xmlns:a16="http://schemas.microsoft.com/office/drawing/2014/main" id="{155F4FAC-9412-45E9-99EC-FDC351D60453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31202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1" name="Straight Connector 70">
                    <a:extLst>
                      <a:ext uri="{FF2B5EF4-FFF2-40B4-BE49-F238E27FC236}">
                        <a16:creationId xmlns:a16="http://schemas.microsoft.com/office/drawing/2014/main" id="{5A0C0A33-67B3-48C9-9B83-C39DFDEF5E0A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26630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2" name="Straight Connector 71">
                    <a:extLst>
                      <a:ext uri="{FF2B5EF4-FFF2-40B4-BE49-F238E27FC236}">
                        <a16:creationId xmlns:a16="http://schemas.microsoft.com/office/drawing/2014/main" id="{A87FF284-D960-4A05-8053-9886608C6599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22058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3" name="Straight Connector 72">
                    <a:extLst>
                      <a:ext uri="{FF2B5EF4-FFF2-40B4-BE49-F238E27FC236}">
                        <a16:creationId xmlns:a16="http://schemas.microsoft.com/office/drawing/2014/main" id="{6BA61019-342C-4EDD-97C6-EDA59774644E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17486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4" name="Straight Connector 73">
                    <a:extLst>
                      <a:ext uri="{FF2B5EF4-FFF2-40B4-BE49-F238E27FC236}">
                        <a16:creationId xmlns:a16="http://schemas.microsoft.com/office/drawing/2014/main" id="{234785CB-17D0-49DD-8DC9-3C93626DC776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1291437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5" name="Straight Connector 74">
                    <a:extLst>
                      <a:ext uri="{FF2B5EF4-FFF2-40B4-BE49-F238E27FC236}">
                        <a16:creationId xmlns:a16="http://schemas.microsoft.com/office/drawing/2014/main" id="{425DB222-E3A0-48A3-BBD5-FD2616577D2D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834237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6" name="Straight Connector 75">
                    <a:extLst>
                      <a:ext uri="{FF2B5EF4-FFF2-40B4-BE49-F238E27FC236}">
                        <a16:creationId xmlns:a16="http://schemas.microsoft.com/office/drawing/2014/main" id="{C433E4E5-A945-4652-B574-37C6580344B0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gray">
                  <a:xfrm flipH="1">
                    <a:off x="1" y="5717376"/>
                    <a:ext cx="12188825" cy="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7" name="Straight Connector 76">
                    <a:extLst>
                      <a:ext uri="{FF2B5EF4-FFF2-40B4-BE49-F238E27FC236}">
                        <a16:creationId xmlns:a16="http://schemas.microsoft.com/office/drawing/2014/main" id="{352A597B-2B35-4BD4-B07E-D8CEF25A597D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763592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8" name="Straight Connector 77">
                    <a:extLst>
                      <a:ext uri="{FF2B5EF4-FFF2-40B4-BE49-F238E27FC236}">
                        <a16:creationId xmlns:a16="http://schemas.microsoft.com/office/drawing/2014/main" id="{9351C336-9D65-42C9-A33F-6971E6322E46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5637212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9" name="Straight Connector 78">
                    <a:extLst>
                      <a:ext uri="{FF2B5EF4-FFF2-40B4-BE49-F238E27FC236}">
                        <a16:creationId xmlns:a16="http://schemas.microsoft.com/office/drawing/2014/main" id="{FCAD9518-36D4-43F7-839D-D8FE389DF1F1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4951411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0" name="Straight Connector 79">
                    <a:extLst>
                      <a:ext uri="{FF2B5EF4-FFF2-40B4-BE49-F238E27FC236}">
                        <a16:creationId xmlns:a16="http://schemas.microsoft.com/office/drawing/2014/main" id="{55575B3F-2A8B-4175-B6A5-D60652B87ED0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86257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1" name="Straight Connector 80">
                    <a:extLst>
                      <a:ext uri="{FF2B5EF4-FFF2-40B4-BE49-F238E27FC236}">
                        <a16:creationId xmlns:a16="http://schemas.microsoft.com/office/drawing/2014/main" id="{1CCC90FC-8476-4A2A-8DF1-ECAB053A24FD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30638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2" name="Straight Connector 81">
                    <a:extLst>
                      <a:ext uri="{FF2B5EF4-FFF2-40B4-BE49-F238E27FC236}">
                        <a16:creationId xmlns:a16="http://schemas.microsoft.com/office/drawing/2014/main" id="{DFB03C8E-4661-465A-B25F-147D497525A0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40346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3" name="Straight Connector 82">
                    <a:extLst>
                      <a:ext uri="{FF2B5EF4-FFF2-40B4-BE49-F238E27FC236}">
                        <a16:creationId xmlns:a16="http://schemas.microsoft.com/office/drawing/2014/main" id="{88C8E030-5491-4C40-9E10-B197BD5CD587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35774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4" name="Straight Connector 83">
                    <a:extLst>
                      <a:ext uri="{FF2B5EF4-FFF2-40B4-BE49-F238E27FC236}">
                        <a16:creationId xmlns:a16="http://schemas.microsoft.com/office/drawing/2014/main" id="{E0EBA261-0409-41DC-98E2-4BF8173333E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gray">
                  <a:xfrm rot="5400000">
                    <a:off x="6094413" y="-4494211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B119DAC7-36FB-491E-A6EB-B78E57CAECBF}"/>
                  </a:ext>
                </a:extLst>
              </p:cNvPr>
              <p:cNvSpPr txBox="1"/>
              <p:nvPr userDrawn="1"/>
            </p:nvSpPr>
            <p:spPr bwMode="gray">
              <a:xfrm>
                <a:off x="592866" y="5723466"/>
                <a:ext cx="7329077" cy="47413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>
                <a:no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sz="700" dirty="0"/>
                  <a:t>Footnote: Lorem ipsum dolor sit amet, consectetur adipiscing elit. Maecenas dui magna, </a:t>
                </a:r>
                <a:r>
                  <a:rPr lang="en-US" sz="700" dirty="0" err="1"/>
                  <a:t>sagittis</a:t>
                </a:r>
                <a:r>
                  <a:rPr lang="en-US" sz="700" dirty="0"/>
                  <a:t> at </a:t>
                </a:r>
                <a:r>
                  <a:rPr lang="en-US" sz="700" dirty="0" err="1"/>
                  <a:t>feugiat</a:t>
                </a:r>
                <a:r>
                  <a:rPr lang="en-US" sz="700" dirty="0"/>
                  <a:t> </a:t>
                </a:r>
                <a:r>
                  <a:rPr lang="en-US" sz="700" dirty="0" err="1"/>
                  <a:t>eget</a:t>
                </a:r>
                <a:r>
                  <a:rPr lang="en-US" sz="700" dirty="0"/>
                  <a:t>, </a:t>
                </a:r>
                <a:r>
                  <a:rPr lang="en-US" sz="700" dirty="0" err="1"/>
                  <a:t>viverra</a:t>
                </a:r>
                <a:r>
                  <a:rPr lang="en-US" sz="700" dirty="0"/>
                  <a:t> </a:t>
                </a:r>
                <a:r>
                  <a:rPr lang="en-US" sz="700" dirty="0" err="1"/>
                  <a:t>eu</a:t>
                </a:r>
                <a:r>
                  <a:rPr lang="en-US" sz="700" dirty="0"/>
                  <a:t> libero. Vestibulum a </a:t>
                </a:r>
                <a:r>
                  <a:rPr lang="en-US" sz="700" dirty="0" err="1"/>
                  <a:t>justo</a:t>
                </a:r>
                <a:r>
                  <a:rPr lang="en-US" sz="700" dirty="0"/>
                  <a:t> mi. </a:t>
                </a:r>
                <a:r>
                  <a:rPr lang="en-US" sz="700" dirty="0" err="1"/>
                  <a:t>Etiam</a:t>
                </a:r>
                <a:r>
                  <a:rPr lang="en-US" sz="700" dirty="0"/>
                  <a:t> </a:t>
                </a:r>
                <a:r>
                  <a:rPr lang="en-US" sz="700" dirty="0" err="1"/>
                  <a:t>blandit</a:t>
                </a:r>
                <a:r>
                  <a:rPr lang="en-US" sz="700" dirty="0"/>
                  <a:t> tempus </a:t>
                </a:r>
                <a:r>
                  <a:rPr lang="en-US" sz="700" dirty="0" err="1"/>
                  <a:t>odio</a:t>
                </a:r>
                <a:r>
                  <a:rPr lang="en-US" sz="700" dirty="0"/>
                  <a:t>. </a:t>
                </a:r>
                <a:r>
                  <a:rPr lang="en-US" sz="700" dirty="0" err="1"/>
                  <a:t>Fusce</a:t>
                </a:r>
                <a:r>
                  <a:rPr lang="en-US" sz="700" dirty="0"/>
                  <a:t> </a:t>
                </a:r>
                <a:r>
                  <a:rPr lang="en-US" sz="700" dirty="0" err="1"/>
                  <a:t>orci</a:t>
                </a:r>
                <a:r>
                  <a:rPr lang="en-US" sz="700" dirty="0"/>
                  <a:t> </a:t>
                </a:r>
                <a:r>
                  <a:rPr lang="en-US" sz="700" dirty="0" err="1"/>
                  <a:t>lectus</a:t>
                </a:r>
                <a:r>
                  <a:rPr lang="en-US" sz="700" dirty="0"/>
                  <a:t>, </a:t>
                </a:r>
                <a:r>
                  <a:rPr lang="en-US" sz="700" dirty="0" err="1"/>
                  <a:t>tincidunt</a:t>
                </a:r>
                <a:r>
                  <a:rPr lang="en-US" sz="700" dirty="0"/>
                  <a:t> </a:t>
                </a:r>
                <a:r>
                  <a:rPr lang="en-US" sz="700" dirty="0" err="1"/>
                  <a:t>eget</a:t>
                </a:r>
                <a:r>
                  <a:rPr lang="en-US" sz="700" dirty="0"/>
                  <a:t> </a:t>
                </a:r>
                <a:r>
                  <a:rPr lang="en-US" sz="700" dirty="0" err="1"/>
                  <a:t>hendrerit</a:t>
                </a:r>
                <a:r>
                  <a:rPr lang="en-US" sz="700" dirty="0"/>
                  <a:t> </a:t>
                </a:r>
                <a:r>
                  <a:rPr lang="en-US" sz="700" dirty="0" err="1"/>
                  <a:t>quis</a:t>
                </a:r>
                <a:r>
                  <a:rPr lang="en-US" sz="700" dirty="0"/>
                  <a:t>, </a:t>
                </a:r>
                <a:r>
                  <a:rPr lang="en-US" sz="700" dirty="0" err="1"/>
                  <a:t>blandit</a:t>
                </a:r>
                <a:r>
                  <a:rPr lang="en-US" sz="700" dirty="0"/>
                  <a:t> non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60587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0B535B2D-9361-4E88-8BBD-C6E1EB066B37}"/>
              </a:ext>
            </a:extLst>
          </p:cNvPr>
          <p:cNvSpPr/>
          <p:nvPr userDrawn="1"/>
        </p:nvSpPr>
        <p:spPr>
          <a:xfrm>
            <a:off x="0" y="0"/>
            <a:ext cx="12188825" cy="6858000"/>
          </a:xfrm>
          <a:prstGeom prst="rect">
            <a:avLst/>
          </a:prstGeom>
          <a:solidFill>
            <a:srgbClr val="F8981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>
              <a:solidFill>
                <a:schemeClr val="accent2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5AED08D-D489-4C23-BFE9-9C4A6A94C4DA}"/>
              </a:ext>
            </a:extLst>
          </p:cNvPr>
          <p:cNvSpPr txBox="1"/>
          <p:nvPr userDrawn="1"/>
        </p:nvSpPr>
        <p:spPr>
          <a:xfrm>
            <a:off x="606392" y="721895"/>
            <a:ext cx="10876547" cy="48800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5400" spc="300">
                <a:solidFill>
                  <a:schemeClr val="bg1"/>
                </a:solidFill>
              </a:rPr>
              <a:t>DO NOT USE </a:t>
            </a:r>
          </a:p>
          <a:p>
            <a:pPr algn="ctr">
              <a:lnSpc>
                <a:spcPct val="90000"/>
              </a:lnSpc>
            </a:pPr>
            <a:endParaRPr lang="en-US" sz="5400" spc="300">
              <a:solidFill>
                <a:schemeClr val="bg1"/>
              </a:solidFill>
            </a:endParaRPr>
          </a:p>
          <a:p>
            <a:pPr algn="ctr">
              <a:lnSpc>
                <a:spcPct val="90000"/>
              </a:lnSpc>
            </a:pPr>
            <a:r>
              <a:rPr lang="en-US" sz="5400" spc="300">
                <a:solidFill>
                  <a:schemeClr val="bg1"/>
                </a:solidFill>
              </a:rPr>
              <a:t>ALL LAYOUTS PAST THIS ARE NOT PART OF THIS TEMPLATE</a:t>
            </a:r>
          </a:p>
        </p:txBody>
      </p:sp>
    </p:spTree>
    <p:extLst>
      <p:ext uri="{BB962C8B-B14F-4D97-AF65-F5344CB8AC3E}">
        <p14:creationId xmlns:p14="http://schemas.microsoft.com/office/powerpoint/2010/main" val="2244077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6" name="TextBox 755">
            <a:extLst>
              <a:ext uri="{FF2B5EF4-FFF2-40B4-BE49-F238E27FC236}">
                <a16:creationId xmlns:a16="http://schemas.microsoft.com/office/drawing/2014/main" id="{2387BAEF-04D4-4DE9-B7A0-5B5AD8C8A831}"/>
              </a:ext>
            </a:extLst>
          </p:cNvPr>
          <p:cNvSpPr txBox="1"/>
          <p:nvPr userDrawn="1"/>
        </p:nvSpPr>
        <p:spPr>
          <a:xfrm>
            <a:off x="608013" y="1261594"/>
            <a:ext cx="1933864" cy="53489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3200" dirty="0">
                <a:solidFill>
                  <a:schemeClr val="accent2"/>
                </a:solidFill>
                <a:latin typeface="+mj-lt"/>
              </a:rPr>
              <a:t>Agenda</a:t>
            </a:r>
          </a:p>
        </p:txBody>
      </p:sp>
      <p:sp>
        <p:nvSpPr>
          <p:cNvPr id="730" name="TextBox 729">
            <a:extLst>
              <a:ext uri="{FF2B5EF4-FFF2-40B4-BE49-F238E27FC236}">
                <a16:creationId xmlns:a16="http://schemas.microsoft.com/office/drawing/2014/main" id="{AB8D1A6B-3CE6-468D-804E-6300F8B6DC81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6" name="Text Placeholder 757">
            <a:extLst>
              <a:ext uri="{FF2B5EF4-FFF2-40B4-BE49-F238E27FC236}">
                <a16:creationId xmlns:a16="http://schemas.microsoft.com/office/drawing/2014/main" id="{B29EB907-51A5-4D60-B03A-85DECB7627F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94013" y="1359907"/>
            <a:ext cx="7315200" cy="4322783"/>
          </a:xfrm>
        </p:spPr>
        <p:txBody>
          <a:bodyPr anchor="t"/>
          <a:lstStyle>
            <a:lvl1pPr marL="0" indent="0">
              <a:spcBef>
                <a:spcPts val="1800"/>
              </a:spcBef>
              <a:buClr>
                <a:schemeClr val="accent2"/>
              </a:buClr>
              <a:buFont typeface="Open Sans" panose="020B0606030504020204" pitchFamily="34" charset="0"/>
              <a:buChar char="​"/>
              <a:defRPr>
                <a:solidFill>
                  <a:schemeClr val="accent4"/>
                </a:solidFill>
              </a:defRPr>
            </a:lvl1pPr>
            <a:lvl2pPr marL="0" indent="0"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  <a:lvl3pPr marL="342900" indent="0">
              <a:buFont typeface="Open Sans" panose="020B0606030504020204" pitchFamily="34" charset="0"/>
              <a:buNone/>
              <a:defRPr sz="1800"/>
            </a:lvl3pPr>
            <a:lvl4pPr marL="342900" indent="0">
              <a:buFont typeface="Open Sans" panose="020B0606030504020204" pitchFamily="34" charset="0"/>
              <a:buChar char="​"/>
              <a:tabLst/>
              <a:defRPr sz="1800">
                <a:solidFill>
                  <a:schemeClr val="tx2"/>
                </a:solidFill>
              </a:defRPr>
            </a:lvl4pPr>
            <a:lvl5pPr marL="342900" indent="0">
              <a:buFont typeface="Open Sans" panose="020B0606030504020204" pitchFamily="34" charset="0"/>
              <a:buChar char="​"/>
              <a:tabLst/>
              <a:defRPr sz="1800">
                <a:solidFill>
                  <a:schemeClr val="tx2"/>
                </a:solidFill>
              </a:defRPr>
            </a:lvl5pPr>
            <a:lvl6pPr marL="342900" indent="0">
              <a:buFont typeface="Open Sans" panose="020B0606030504020204" pitchFamily="34" charset="0"/>
              <a:buChar char="​"/>
              <a:defRPr sz="1800">
                <a:solidFill>
                  <a:schemeClr val="tx2"/>
                </a:solidFill>
              </a:defRPr>
            </a:lvl6pPr>
            <a:lvl7pPr marL="342900" indent="0">
              <a:buFont typeface="Open Sans" panose="020B0606030504020204" pitchFamily="34" charset="0"/>
              <a:buChar char="​"/>
              <a:defRPr sz="1800">
                <a:solidFill>
                  <a:schemeClr val="tx2"/>
                </a:solidFill>
              </a:defRPr>
            </a:lvl7pPr>
            <a:lvl8pPr marL="342900" indent="0">
              <a:buFont typeface="Open Sans" panose="020B0606030504020204" pitchFamily="34" charset="0"/>
              <a:buChar char="​"/>
              <a:defRPr sz="1800">
                <a:solidFill>
                  <a:schemeClr val="tx2"/>
                </a:solidFill>
              </a:defRPr>
            </a:lvl8pPr>
            <a:lvl9pPr marL="342900" indent="0">
              <a:buFont typeface="Open Sans" panose="020B0606030504020204" pitchFamily="34" charset="0"/>
              <a:buChar char="​"/>
              <a:defRPr sz="18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738897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B7217DE-1965-47B9-B9BF-BF37EF137B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B7217DE-1965-47B9-B9BF-BF37EF137B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8950B906-C5A3-4658-B24C-B2B533310D26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latin typeface="+mj-lt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E333358-58C9-4949-98D5-BC5D4A3168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none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96820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6782F443-93A0-4919-89E7-37E501919603}"/>
              </a:ext>
            </a:extLst>
          </p:cNvPr>
          <p:cNvSpPr/>
          <p:nvPr userDrawn="1"/>
        </p:nvSpPr>
        <p:spPr>
          <a:xfrm rot="2700000">
            <a:off x="1530975" y="-2580079"/>
            <a:ext cx="3206987" cy="9623529"/>
          </a:xfrm>
          <a:custGeom>
            <a:avLst/>
            <a:gdLst>
              <a:gd name="connsiteX0" fmla="*/ 3621 w 3204432"/>
              <a:gd name="connsiteY0" fmla="*/ 3200811 h 9623529"/>
              <a:gd name="connsiteX1" fmla="*/ 3204432 w 3204432"/>
              <a:gd name="connsiteY1" fmla="*/ 0 h 9623529"/>
              <a:gd name="connsiteX2" fmla="*/ 3204432 w 3204432"/>
              <a:gd name="connsiteY2" fmla="*/ 8389488 h 9623529"/>
              <a:gd name="connsiteX3" fmla="*/ 3197162 w 3204432"/>
              <a:gd name="connsiteY3" fmla="*/ 8389488 h 9623529"/>
              <a:gd name="connsiteX4" fmla="*/ 3201565 w 3204432"/>
              <a:gd name="connsiteY4" fmla="*/ 8393890 h 9623529"/>
              <a:gd name="connsiteX5" fmla="*/ 1971926 w 3204432"/>
              <a:gd name="connsiteY5" fmla="*/ 9623529 h 9623529"/>
              <a:gd name="connsiteX6" fmla="*/ 0 w 3204432"/>
              <a:gd name="connsiteY6" fmla="*/ 7651603 h 9623529"/>
              <a:gd name="connsiteX7" fmla="*/ 3621 w 3204432"/>
              <a:gd name="connsiteY7" fmla="*/ 7647982 h 9623529"/>
              <a:gd name="connsiteX8" fmla="*/ 3621 w 3204432"/>
              <a:gd name="connsiteY8" fmla="*/ 3200811 h 9623529"/>
              <a:gd name="connsiteX0" fmla="*/ 3621 w 3206055"/>
              <a:gd name="connsiteY0" fmla="*/ 3200811 h 9623529"/>
              <a:gd name="connsiteX1" fmla="*/ 3204432 w 3206055"/>
              <a:gd name="connsiteY1" fmla="*/ 0 h 9623529"/>
              <a:gd name="connsiteX2" fmla="*/ 3204432 w 3206055"/>
              <a:gd name="connsiteY2" fmla="*/ 8389488 h 9623529"/>
              <a:gd name="connsiteX3" fmla="*/ 3197162 w 3206055"/>
              <a:gd name="connsiteY3" fmla="*/ 8389488 h 9623529"/>
              <a:gd name="connsiteX4" fmla="*/ 3206055 w 3206055"/>
              <a:gd name="connsiteY4" fmla="*/ 9386208 h 9623529"/>
              <a:gd name="connsiteX5" fmla="*/ 1971926 w 3206055"/>
              <a:gd name="connsiteY5" fmla="*/ 9623529 h 9623529"/>
              <a:gd name="connsiteX6" fmla="*/ 0 w 3206055"/>
              <a:gd name="connsiteY6" fmla="*/ 7651603 h 9623529"/>
              <a:gd name="connsiteX7" fmla="*/ 3621 w 3206055"/>
              <a:gd name="connsiteY7" fmla="*/ 7647982 h 9623529"/>
              <a:gd name="connsiteX8" fmla="*/ 3621 w 3206055"/>
              <a:gd name="connsiteY8" fmla="*/ 3200811 h 9623529"/>
              <a:gd name="connsiteX0" fmla="*/ 3621 w 3206987"/>
              <a:gd name="connsiteY0" fmla="*/ 3200811 h 9623529"/>
              <a:gd name="connsiteX1" fmla="*/ 3204432 w 3206987"/>
              <a:gd name="connsiteY1" fmla="*/ 0 h 9623529"/>
              <a:gd name="connsiteX2" fmla="*/ 3204432 w 3206987"/>
              <a:gd name="connsiteY2" fmla="*/ 8389488 h 9623529"/>
              <a:gd name="connsiteX3" fmla="*/ 3206142 w 3206987"/>
              <a:gd name="connsiteY3" fmla="*/ 8407448 h 9623529"/>
              <a:gd name="connsiteX4" fmla="*/ 3206055 w 3206987"/>
              <a:gd name="connsiteY4" fmla="*/ 9386208 h 9623529"/>
              <a:gd name="connsiteX5" fmla="*/ 1971926 w 3206987"/>
              <a:gd name="connsiteY5" fmla="*/ 9623529 h 9623529"/>
              <a:gd name="connsiteX6" fmla="*/ 0 w 3206987"/>
              <a:gd name="connsiteY6" fmla="*/ 7651603 h 9623529"/>
              <a:gd name="connsiteX7" fmla="*/ 3621 w 3206987"/>
              <a:gd name="connsiteY7" fmla="*/ 7647982 h 9623529"/>
              <a:gd name="connsiteX8" fmla="*/ 3621 w 3206987"/>
              <a:gd name="connsiteY8" fmla="*/ 3200811 h 96235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206987" h="9623529">
                <a:moveTo>
                  <a:pt x="3621" y="3200811"/>
                </a:moveTo>
                <a:lnTo>
                  <a:pt x="3204432" y="0"/>
                </a:lnTo>
                <a:lnTo>
                  <a:pt x="3204432" y="8389488"/>
                </a:lnTo>
                <a:lnTo>
                  <a:pt x="3206142" y="8407448"/>
                </a:lnTo>
                <a:cubicBezTo>
                  <a:pt x="3209106" y="8739688"/>
                  <a:pt x="3203091" y="9053968"/>
                  <a:pt x="3206055" y="9386208"/>
                </a:cubicBezTo>
                <a:lnTo>
                  <a:pt x="1971926" y="9623529"/>
                </a:lnTo>
                <a:lnTo>
                  <a:pt x="0" y="7651603"/>
                </a:lnTo>
                <a:lnTo>
                  <a:pt x="3621" y="7647982"/>
                </a:lnTo>
                <a:lnTo>
                  <a:pt x="3621" y="3200811"/>
                </a:lnTo>
                <a:close/>
              </a:path>
            </a:pathLst>
          </a:custGeom>
          <a:gradFill>
            <a:gsLst>
              <a:gs pos="24000">
                <a:schemeClr val="accent4"/>
              </a:gs>
              <a:gs pos="87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72DCDC53-603A-40A5-A8CC-0073D40D11EF}"/>
              </a:ext>
            </a:extLst>
          </p:cNvPr>
          <p:cNvSpPr/>
          <p:nvPr userDrawn="1"/>
        </p:nvSpPr>
        <p:spPr>
          <a:xfrm rot="2700000">
            <a:off x="1632126" y="1230939"/>
            <a:ext cx="3535790" cy="7514148"/>
          </a:xfrm>
          <a:custGeom>
            <a:avLst/>
            <a:gdLst>
              <a:gd name="connsiteX0" fmla="*/ 0 w 3535790"/>
              <a:gd name="connsiteY0" fmla="*/ 0 h 7514148"/>
              <a:gd name="connsiteX1" fmla="*/ 3535790 w 3535790"/>
              <a:gd name="connsiteY1" fmla="*/ 0 h 7514148"/>
              <a:gd name="connsiteX2" fmla="*/ 3535790 w 3535790"/>
              <a:gd name="connsiteY2" fmla="*/ 4642648 h 7514148"/>
              <a:gd name="connsiteX3" fmla="*/ 706090 w 3535790"/>
              <a:gd name="connsiteY3" fmla="*/ 7514148 h 7514148"/>
              <a:gd name="connsiteX4" fmla="*/ 0 w 3535790"/>
              <a:gd name="connsiteY4" fmla="*/ 6808058 h 7514148"/>
              <a:gd name="connsiteX5" fmla="*/ 0 w 3535790"/>
              <a:gd name="connsiteY5" fmla="*/ 0 h 75141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35790" h="7514148">
                <a:moveTo>
                  <a:pt x="0" y="0"/>
                </a:moveTo>
                <a:lnTo>
                  <a:pt x="3535790" y="0"/>
                </a:lnTo>
                <a:lnTo>
                  <a:pt x="3535790" y="4642648"/>
                </a:lnTo>
                <a:lnTo>
                  <a:pt x="706090" y="7514148"/>
                </a:lnTo>
                <a:lnTo>
                  <a:pt x="0" y="680805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143">
                <a:schemeClr val="bg1">
                  <a:alpha val="0"/>
                </a:schemeClr>
              </a:gs>
              <a:gs pos="14000">
                <a:schemeClr val="bg1">
                  <a:alpha val="0"/>
                </a:schemeClr>
              </a:gs>
              <a:gs pos="72000">
                <a:schemeClr val="accent1"/>
              </a:gs>
            </a:gsLst>
            <a:lin ang="4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92948" y="1582578"/>
            <a:ext cx="4996403" cy="1234440"/>
          </a:xfrm>
        </p:spPr>
        <p:txBody>
          <a:bodyPr wrap="square" anchor="b"/>
          <a:lstStyle>
            <a:lvl1pPr algn="l">
              <a:defRPr sz="4000" b="0"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8" name="Subtitle 2">
            <a:extLst>
              <a:ext uri="{FF2B5EF4-FFF2-40B4-BE49-F238E27FC236}">
                <a16:creationId xmlns:a16="http://schemas.microsoft.com/office/drawing/2014/main" id="{6EBAFA4D-7B92-4E38-8320-94F3BCA2E41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592948" y="2867279"/>
            <a:ext cx="5116452" cy="4164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accent4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EA43E1E-B208-4DC4-9D6A-01669D00DA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92948" y="4737425"/>
            <a:ext cx="3657600" cy="355601"/>
          </a:xfrm>
        </p:spPr>
        <p:txBody>
          <a:bodyPr anchor="b"/>
          <a:lstStyle>
            <a:lvl1pPr algn="l"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29" name="Text Placeholder 6">
            <a:extLst>
              <a:ext uri="{FF2B5EF4-FFF2-40B4-BE49-F238E27FC236}">
                <a16:creationId xmlns:a16="http://schemas.microsoft.com/office/drawing/2014/main" id="{2111BB8B-7B37-4FB4-B2CD-984FE1C6C5E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92948" y="5138745"/>
            <a:ext cx="3657600" cy="355601"/>
          </a:xfrm>
        </p:spPr>
        <p:txBody>
          <a:bodyPr/>
          <a:lstStyle>
            <a:lvl1pPr algn="l"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Role / Division at VMwa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68E7D54E-C753-48F7-AB43-C7A586277F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92948" y="5494346"/>
            <a:ext cx="3657600" cy="267221"/>
          </a:xfrm>
        </p:spPr>
        <p:txBody>
          <a:bodyPr/>
          <a:lstStyle>
            <a:lvl1pPr algn="l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71B1726-E7C5-4C32-A22F-BB8C0CA833E9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0AEE4566-BDD0-43EB-8593-753B4AFC53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CDDDBBBD-2B47-4F32-9507-B47217AD31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9A63A2EB-B414-427C-8975-27B69B276D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4AFD0B14-399F-447F-BBDD-FF049C867FA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0778A2AC-9D1D-4FDB-973A-47DEA98860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52873CFF-17A0-467C-B061-5E3FD5E92C7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C351EEF9-CE8C-4948-8867-FDC697419B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576FCBCF-AFA0-4D2E-AF64-919BFE9B44B8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fidential   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©2019 VMware, Inc.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3" name="Ink 2">
                <a:extLst>
                  <a:ext uri="{FF2B5EF4-FFF2-40B4-BE49-F238E27FC236}">
                    <a16:creationId xmlns:a16="http://schemas.microsoft.com/office/drawing/2014/main" id="{229416F8-1B20-4892-97FA-108F191A5885}"/>
                  </a:ext>
                </a:extLst>
              </p14:cNvPr>
              <p14:cNvContentPartPr/>
              <p14:nvPr userDrawn="1"/>
            </p14:nvContentPartPr>
            <p14:xfrm>
              <a:off x="9859593" y="4881179"/>
              <a:ext cx="240" cy="240"/>
            </p14:xfrm>
          </p:contentPart>
        </mc:Choice>
        <mc:Fallback xmlns="">
          <p:pic>
            <p:nvPicPr>
              <p:cNvPr id="3" name="Ink 2">
                <a:extLst>
                  <a:ext uri="{FF2B5EF4-FFF2-40B4-BE49-F238E27FC236}">
                    <a16:creationId xmlns:a16="http://schemas.microsoft.com/office/drawing/2014/main" id="{229416F8-1B20-4892-97FA-108F191A5885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9855513" y="4877099"/>
                <a:ext cx="7920" cy="79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147090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– Plu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1F68A354-4C62-4F2A-9CB5-8CD9B953F237}"/>
              </a:ext>
            </a:extLst>
          </p:cNvPr>
          <p:cNvSpPr/>
          <p:nvPr userDrawn="1"/>
        </p:nvSpPr>
        <p:spPr>
          <a:xfrm rot="2700000">
            <a:off x="1530975" y="-2580079"/>
            <a:ext cx="3206987" cy="9623529"/>
          </a:xfrm>
          <a:custGeom>
            <a:avLst/>
            <a:gdLst>
              <a:gd name="connsiteX0" fmla="*/ 3621 w 3204432"/>
              <a:gd name="connsiteY0" fmla="*/ 3200811 h 9623529"/>
              <a:gd name="connsiteX1" fmla="*/ 3204432 w 3204432"/>
              <a:gd name="connsiteY1" fmla="*/ 0 h 9623529"/>
              <a:gd name="connsiteX2" fmla="*/ 3204432 w 3204432"/>
              <a:gd name="connsiteY2" fmla="*/ 8389488 h 9623529"/>
              <a:gd name="connsiteX3" fmla="*/ 3197162 w 3204432"/>
              <a:gd name="connsiteY3" fmla="*/ 8389488 h 9623529"/>
              <a:gd name="connsiteX4" fmla="*/ 3201565 w 3204432"/>
              <a:gd name="connsiteY4" fmla="*/ 8393890 h 9623529"/>
              <a:gd name="connsiteX5" fmla="*/ 1971926 w 3204432"/>
              <a:gd name="connsiteY5" fmla="*/ 9623529 h 9623529"/>
              <a:gd name="connsiteX6" fmla="*/ 0 w 3204432"/>
              <a:gd name="connsiteY6" fmla="*/ 7651603 h 9623529"/>
              <a:gd name="connsiteX7" fmla="*/ 3621 w 3204432"/>
              <a:gd name="connsiteY7" fmla="*/ 7647982 h 9623529"/>
              <a:gd name="connsiteX8" fmla="*/ 3621 w 3204432"/>
              <a:gd name="connsiteY8" fmla="*/ 3200811 h 9623529"/>
              <a:gd name="connsiteX0" fmla="*/ 3621 w 3206055"/>
              <a:gd name="connsiteY0" fmla="*/ 3200811 h 9623529"/>
              <a:gd name="connsiteX1" fmla="*/ 3204432 w 3206055"/>
              <a:gd name="connsiteY1" fmla="*/ 0 h 9623529"/>
              <a:gd name="connsiteX2" fmla="*/ 3204432 w 3206055"/>
              <a:gd name="connsiteY2" fmla="*/ 8389488 h 9623529"/>
              <a:gd name="connsiteX3" fmla="*/ 3197162 w 3206055"/>
              <a:gd name="connsiteY3" fmla="*/ 8389488 h 9623529"/>
              <a:gd name="connsiteX4" fmla="*/ 3206055 w 3206055"/>
              <a:gd name="connsiteY4" fmla="*/ 9386208 h 9623529"/>
              <a:gd name="connsiteX5" fmla="*/ 1971926 w 3206055"/>
              <a:gd name="connsiteY5" fmla="*/ 9623529 h 9623529"/>
              <a:gd name="connsiteX6" fmla="*/ 0 w 3206055"/>
              <a:gd name="connsiteY6" fmla="*/ 7651603 h 9623529"/>
              <a:gd name="connsiteX7" fmla="*/ 3621 w 3206055"/>
              <a:gd name="connsiteY7" fmla="*/ 7647982 h 9623529"/>
              <a:gd name="connsiteX8" fmla="*/ 3621 w 3206055"/>
              <a:gd name="connsiteY8" fmla="*/ 3200811 h 9623529"/>
              <a:gd name="connsiteX0" fmla="*/ 3621 w 3206987"/>
              <a:gd name="connsiteY0" fmla="*/ 3200811 h 9623529"/>
              <a:gd name="connsiteX1" fmla="*/ 3204432 w 3206987"/>
              <a:gd name="connsiteY1" fmla="*/ 0 h 9623529"/>
              <a:gd name="connsiteX2" fmla="*/ 3204432 w 3206987"/>
              <a:gd name="connsiteY2" fmla="*/ 8389488 h 9623529"/>
              <a:gd name="connsiteX3" fmla="*/ 3206142 w 3206987"/>
              <a:gd name="connsiteY3" fmla="*/ 8407448 h 9623529"/>
              <a:gd name="connsiteX4" fmla="*/ 3206055 w 3206987"/>
              <a:gd name="connsiteY4" fmla="*/ 9386208 h 9623529"/>
              <a:gd name="connsiteX5" fmla="*/ 1971926 w 3206987"/>
              <a:gd name="connsiteY5" fmla="*/ 9623529 h 9623529"/>
              <a:gd name="connsiteX6" fmla="*/ 0 w 3206987"/>
              <a:gd name="connsiteY6" fmla="*/ 7651603 h 9623529"/>
              <a:gd name="connsiteX7" fmla="*/ 3621 w 3206987"/>
              <a:gd name="connsiteY7" fmla="*/ 7647982 h 9623529"/>
              <a:gd name="connsiteX8" fmla="*/ 3621 w 3206987"/>
              <a:gd name="connsiteY8" fmla="*/ 3200811 h 96235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206987" h="9623529">
                <a:moveTo>
                  <a:pt x="3621" y="3200811"/>
                </a:moveTo>
                <a:lnTo>
                  <a:pt x="3204432" y="0"/>
                </a:lnTo>
                <a:lnTo>
                  <a:pt x="3204432" y="8389488"/>
                </a:lnTo>
                <a:lnTo>
                  <a:pt x="3206142" y="8407448"/>
                </a:lnTo>
                <a:cubicBezTo>
                  <a:pt x="3209106" y="8739688"/>
                  <a:pt x="3203091" y="9053968"/>
                  <a:pt x="3206055" y="9386208"/>
                </a:cubicBezTo>
                <a:lnTo>
                  <a:pt x="1971926" y="9623529"/>
                </a:lnTo>
                <a:lnTo>
                  <a:pt x="0" y="7651603"/>
                </a:lnTo>
                <a:lnTo>
                  <a:pt x="3621" y="7647982"/>
                </a:lnTo>
                <a:lnTo>
                  <a:pt x="3621" y="3200811"/>
                </a:lnTo>
                <a:close/>
              </a:path>
            </a:pathLst>
          </a:custGeom>
          <a:gradFill>
            <a:gsLst>
              <a:gs pos="24000">
                <a:srgbClr val="7F35AB"/>
              </a:gs>
              <a:gs pos="87000">
                <a:srgbClr val="264088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C835AD62-92DE-42CB-A787-503E2A1C1C7A}"/>
              </a:ext>
            </a:extLst>
          </p:cNvPr>
          <p:cNvSpPr/>
          <p:nvPr userDrawn="1"/>
        </p:nvSpPr>
        <p:spPr>
          <a:xfrm rot="2700000">
            <a:off x="1632126" y="1230939"/>
            <a:ext cx="3535790" cy="7514148"/>
          </a:xfrm>
          <a:custGeom>
            <a:avLst/>
            <a:gdLst>
              <a:gd name="connsiteX0" fmla="*/ 0 w 3535790"/>
              <a:gd name="connsiteY0" fmla="*/ 0 h 7514148"/>
              <a:gd name="connsiteX1" fmla="*/ 3535790 w 3535790"/>
              <a:gd name="connsiteY1" fmla="*/ 0 h 7514148"/>
              <a:gd name="connsiteX2" fmla="*/ 3535790 w 3535790"/>
              <a:gd name="connsiteY2" fmla="*/ 4642648 h 7514148"/>
              <a:gd name="connsiteX3" fmla="*/ 706090 w 3535790"/>
              <a:gd name="connsiteY3" fmla="*/ 7514148 h 7514148"/>
              <a:gd name="connsiteX4" fmla="*/ 0 w 3535790"/>
              <a:gd name="connsiteY4" fmla="*/ 6808058 h 7514148"/>
              <a:gd name="connsiteX5" fmla="*/ 0 w 3535790"/>
              <a:gd name="connsiteY5" fmla="*/ 0 h 75141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35790" h="7514148">
                <a:moveTo>
                  <a:pt x="0" y="0"/>
                </a:moveTo>
                <a:lnTo>
                  <a:pt x="3535790" y="0"/>
                </a:lnTo>
                <a:lnTo>
                  <a:pt x="3535790" y="4642648"/>
                </a:lnTo>
                <a:lnTo>
                  <a:pt x="706090" y="7514148"/>
                </a:lnTo>
                <a:lnTo>
                  <a:pt x="0" y="680805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8580">
                <a:srgbClr val="0286CD">
                  <a:alpha val="0"/>
                </a:srgbClr>
              </a:gs>
              <a:gs pos="0">
                <a:schemeClr val="accent1">
                  <a:alpha val="0"/>
                </a:schemeClr>
              </a:gs>
              <a:gs pos="78000">
                <a:schemeClr val="accent2">
                  <a:lumMod val="75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92948" y="1582578"/>
            <a:ext cx="4996403" cy="1234440"/>
          </a:xfrm>
        </p:spPr>
        <p:txBody>
          <a:bodyPr wrap="square" anchor="b"/>
          <a:lstStyle>
            <a:lvl1pPr algn="l">
              <a:defRPr sz="4000" b="0"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8" name="Subtitle 2">
            <a:extLst>
              <a:ext uri="{FF2B5EF4-FFF2-40B4-BE49-F238E27FC236}">
                <a16:creationId xmlns:a16="http://schemas.microsoft.com/office/drawing/2014/main" id="{6EBAFA4D-7B92-4E38-8320-94F3BCA2E41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592948" y="2871216"/>
            <a:ext cx="5116452" cy="4164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EA43E1E-B208-4DC4-9D6A-01669D00DA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92948" y="4737425"/>
            <a:ext cx="3657600" cy="355601"/>
          </a:xfrm>
        </p:spPr>
        <p:txBody>
          <a:bodyPr anchor="b"/>
          <a:lstStyle>
            <a:lvl1pPr algn="l"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29" name="Text Placeholder 6">
            <a:extLst>
              <a:ext uri="{FF2B5EF4-FFF2-40B4-BE49-F238E27FC236}">
                <a16:creationId xmlns:a16="http://schemas.microsoft.com/office/drawing/2014/main" id="{2111BB8B-7B37-4FB4-B2CD-984FE1C6C5E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92948" y="5138745"/>
            <a:ext cx="3657600" cy="355601"/>
          </a:xfrm>
        </p:spPr>
        <p:txBody>
          <a:bodyPr/>
          <a:lstStyle>
            <a:lvl1pPr algn="l"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Role / Division at VMwa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68E7D54E-C753-48F7-AB43-C7A586277F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92948" y="5494345"/>
            <a:ext cx="3657600" cy="265176"/>
          </a:xfrm>
        </p:spPr>
        <p:txBody>
          <a:bodyPr/>
          <a:lstStyle>
            <a:lvl1pPr algn="l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71B1726-E7C5-4C32-A22F-BB8C0CA833E9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0AEE4566-BDD0-43EB-8593-753B4AFC53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CDDDBBBD-2B47-4F32-9507-B47217AD31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9A63A2EB-B414-427C-8975-27B69B276D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4AFD0B14-399F-447F-BBDD-FF049C867FA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0778A2AC-9D1D-4FDB-973A-47DEA98860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52873CFF-17A0-467C-B061-5E3FD5E92C7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C351EEF9-CE8C-4948-8867-FDC697419B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576FCBCF-AFA0-4D2E-AF64-919BFE9B44B8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fidential   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©2019 VMware, Inc.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3" name="Ink 2">
                <a:extLst>
                  <a:ext uri="{FF2B5EF4-FFF2-40B4-BE49-F238E27FC236}">
                    <a16:creationId xmlns:a16="http://schemas.microsoft.com/office/drawing/2014/main" id="{229416F8-1B20-4892-97FA-108F191A5885}"/>
                  </a:ext>
                </a:extLst>
              </p14:cNvPr>
              <p14:cNvContentPartPr/>
              <p14:nvPr userDrawn="1"/>
            </p14:nvContentPartPr>
            <p14:xfrm>
              <a:off x="9859593" y="4881179"/>
              <a:ext cx="240" cy="240"/>
            </p14:xfrm>
          </p:contentPart>
        </mc:Choice>
        <mc:Fallback xmlns="">
          <p:pic>
            <p:nvPicPr>
              <p:cNvPr id="3" name="Ink 2">
                <a:extLst>
                  <a:ext uri="{FF2B5EF4-FFF2-40B4-BE49-F238E27FC236}">
                    <a16:creationId xmlns:a16="http://schemas.microsoft.com/office/drawing/2014/main" id="{229416F8-1B20-4892-97FA-108F191A5885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9855513" y="4877099"/>
                <a:ext cx="7920" cy="79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4141379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–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BCB68143-A247-4F5B-9173-3D82D6706BFE}"/>
              </a:ext>
            </a:extLst>
          </p:cNvPr>
          <p:cNvSpPr/>
          <p:nvPr userDrawn="1"/>
        </p:nvSpPr>
        <p:spPr>
          <a:xfrm rot="2700000">
            <a:off x="1530975" y="-2580079"/>
            <a:ext cx="3206987" cy="9623529"/>
          </a:xfrm>
          <a:custGeom>
            <a:avLst/>
            <a:gdLst>
              <a:gd name="connsiteX0" fmla="*/ 3621 w 3204432"/>
              <a:gd name="connsiteY0" fmla="*/ 3200811 h 9623529"/>
              <a:gd name="connsiteX1" fmla="*/ 3204432 w 3204432"/>
              <a:gd name="connsiteY1" fmla="*/ 0 h 9623529"/>
              <a:gd name="connsiteX2" fmla="*/ 3204432 w 3204432"/>
              <a:gd name="connsiteY2" fmla="*/ 8389488 h 9623529"/>
              <a:gd name="connsiteX3" fmla="*/ 3197162 w 3204432"/>
              <a:gd name="connsiteY3" fmla="*/ 8389488 h 9623529"/>
              <a:gd name="connsiteX4" fmla="*/ 3201565 w 3204432"/>
              <a:gd name="connsiteY4" fmla="*/ 8393890 h 9623529"/>
              <a:gd name="connsiteX5" fmla="*/ 1971926 w 3204432"/>
              <a:gd name="connsiteY5" fmla="*/ 9623529 h 9623529"/>
              <a:gd name="connsiteX6" fmla="*/ 0 w 3204432"/>
              <a:gd name="connsiteY6" fmla="*/ 7651603 h 9623529"/>
              <a:gd name="connsiteX7" fmla="*/ 3621 w 3204432"/>
              <a:gd name="connsiteY7" fmla="*/ 7647982 h 9623529"/>
              <a:gd name="connsiteX8" fmla="*/ 3621 w 3204432"/>
              <a:gd name="connsiteY8" fmla="*/ 3200811 h 9623529"/>
              <a:gd name="connsiteX0" fmla="*/ 3621 w 3206055"/>
              <a:gd name="connsiteY0" fmla="*/ 3200811 h 9623529"/>
              <a:gd name="connsiteX1" fmla="*/ 3204432 w 3206055"/>
              <a:gd name="connsiteY1" fmla="*/ 0 h 9623529"/>
              <a:gd name="connsiteX2" fmla="*/ 3204432 w 3206055"/>
              <a:gd name="connsiteY2" fmla="*/ 8389488 h 9623529"/>
              <a:gd name="connsiteX3" fmla="*/ 3197162 w 3206055"/>
              <a:gd name="connsiteY3" fmla="*/ 8389488 h 9623529"/>
              <a:gd name="connsiteX4" fmla="*/ 3206055 w 3206055"/>
              <a:gd name="connsiteY4" fmla="*/ 9386208 h 9623529"/>
              <a:gd name="connsiteX5" fmla="*/ 1971926 w 3206055"/>
              <a:gd name="connsiteY5" fmla="*/ 9623529 h 9623529"/>
              <a:gd name="connsiteX6" fmla="*/ 0 w 3206055"/>
              <a:gd name="connsiteY6" fmla="*/ 7651603 h 9623529"/>
              <a:gd name="connsiteX7" fmla="*/ 3621 w 3206055"/>
              <a:gd name="connsiteY7" fmla="*/ 7647982 h 9623529"/>
              <a:gd name="connsiteX8" fmla="*/ 3621 w 3206055"/>
              <a:gd name="connsiteY8" fmla="*/ 3200811 h 9623529"/>
              <a:gd name="connsiteX0" fmla="*/ 3621 w 3206987"/>
              <a:gd name="connsiteY0" fmla="*/ 3200811 h 9623529"/>
              <a:gd name="connsiteX1" fmla="*/ 3204432 w 3206987"/>
              <a:gd name="connsiteY1" fmla="*/ 0 h 9623529"/>
              <a:gd name="connsiteX2" fmla="*/ 3204432 w 3206987"/>
              <a:gd name="connsiteY2" fmla="*/ 8389488 h 9623529"/>
              <a:gd name="connsiteX3" fmla="*/ 3206142 w 3206987"/>
              <a:gd name="connsiteY3" fmla="*/ 8407448 h 9623529"/>
              <a:gd name="connsiteX4" fmla="*/ 3206055 w 3206987"/>
              <a:gd name="connsiteY4" fmla="*/ 9386208 h 9623529"/>
              <a:gd name="connsiteX5" fmla="*/ 1971926 w 3206987"/>
              <a:gd name="connsiteY5" fmla="*/ 9623529 h 9623529"/>
              <a:gd name="connsiteX6" fmla="*/ 0 w 3206987"/>
              <a:gd name="connsiteY6" fmla="*/ 7651603 h 9623529"/>
              <a:gd name="connsiteX7" fmla="*/ 3621 w 3206987"/>
              <a:gd name="connsiteY7" fmla="*/ 7647982 h 9623529"/>
              <a:gd name="connsiteX8" fmla="*/ 3621 w 3206987"/>
              <a:gd name="connsiteY8" fmla="*/ 3200811 h 96235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206987" h="9623529">
                <a:moveTo>
                  <a:pt x="3621" y="3200811"/>
                </a:moveTo>
                <a:lnTo>
                  <a:pt x="3204432" y="0"/>
                </a:lnTo>
                <a:lnTo>
                  <a:pt x="3204432" y="8389488"/>
                </a:lnTo>
                <a:lnTo>
                  <a:pt x="3206142" y="8407448"/>
                </a:lnTo>
                <a:cubicBezTo>
                  <a:pt x="3209106" y="8739688"/>
                  <a:pt x="3203091" y="9053968"/>
                  <a:pt x="3206055" y="9386208"/>
                </a:cubicBezTo>
                <a:lnTo>
                  <a:pt x="1971926" y="9623529"/>
                </a:lnTo>
                <a:lnTo>
                  <a:pt x="0" y="7651603"/>
                </a:lnTo>
                <a:lnTo>
                  <a:pt x="3621" y="7647982"/>
                </a:lnTo>
                <a:lnTo>
                  <a:pt x="3621" y="3200811"/>
                </a:lnTo>
                <a:close/>
              </a:path>
            </a:pathLst>
          </a:custGeom>
          <a:gradFill>
            <a:gsLst>
              <a:gs pos="24000">
                <a:schemeClr val="accent3"/>
              </a:gs>
              <a:gs pos="87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865D9BB8-44B7-4046-A859-7B01AD84E349}"/>
              </a:ext>
            </a:extLst>
          </p:cNvPr>
          <p:cNvSpPr/>
          <p:nvPr userDrawn="1"/>
        </p:nvSpPr>
        <p:spPr>
          <a:xfrm rot="2700000">
            <a:off x="1632126" y="1230939"/>
            <a:ext cx="3535790" cy="7514148"/>
          </a:xfrm>
          <a:custGeom>
            <a:avLst/>
            <a:gdLst>
              <a:gd name="connsiteX0" fmla="*/ 0 w 3535790"/>
              <a:gd name="connsiteY0" fmla="*/ 0 h 7514148"/>
              <a:gd name="connsiteX1" fmla="*/ 3535790 w 3535790"/>
              <a:gd name="connsiteY1" fmla="*/ 0 h 7514148"/>
              <a:gd name="connsiteX2" fmla="*/ 3535790 w 3535790"/>
              <a:gd name="connsiteY2" fmla="*/ 4642648 h 7514148"/>
              <a:gd name="connsiteX3" fmla="*/ 706090 w 3535790"/>
              <a:gd name="connsiteY3" fmla="*/ 7514148 h 7514148"/>
              <a:gd name="connsiteX4" fmla="*/ 0 w 3535790"/>
              <a:gd name="connsiteY4" fmla="*/ 6808058 h 7514148"/>
              <a:gd name="connsiteX5" fmla="*/ 0 w 3535790"/>
              <a:gd name="connsiteY5" fmla="*/ 0 h 75141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35790" h="7514148">
                <a:moveTo>
                  <a:pt x="0" y="0"/>
                </a:moveTo>
                <a:lnTo>
                  <a:pt x="3535790" y="0"/>
                </a:lnTo>
                <a:lnTo>
                  <a:pt x="3535790" y="4642648"/>
                </a:lnTo>
                <a:lnTo>
                  <a:pt x="706090" y="7514148"/>
                </a:lnTo>
                <a:lnTo>
                  <a:pt x="0" y="680805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143">
                <a:schemeClr val="bg1">
                  <a:alpha val="0"/>
                </a:schemeClr>
              </a:gs>
              <a:gs pos="14000">
                <a:schemeClr val="bg1">
                  <a:alpha val="0"/>
                </a:schemeClr>
              </a:gs>
              <a:gs pos="72000">
                <a:schemeClr val="accent1"/>
              </a:gs>
            </a:gsLst>
            <a:lin ang="4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92948" y="1582578"/>
            <a:ext cx="4996403" cy="1234440"/>
          </a:xfrm>
        </p:spPr>
        <p:txBody>
          <a:bodyPr wrap="square" anchor="b"/>
          <a:lstStyle>
            <a:lvl1pPr algn="l">
              <a:defRPr sz="4000" b="0"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8" name="Subtitle 2">
            <a:extLst>
              <a:ext uri="{FF2B5EF4-FFF2-40B4-BE49-F238E27FC236}">
                <a16:creationId xmlns:a16="http://schemas.microsoft.com/office/drawing/2014/main" id="{6EBAFA4D-7B92-4E38-8320-94F3BCA2E41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592948" y="2871216"/>
            <a:ext cx="5116452" cy="4164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EA43E1E-B208-4DC4-9D6A-01669D00DA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92948" y="4737425"/>
            <a:ext cx="3657600" cy="355601"/>
          </a:xfrm>
        </p:spPr>
        <p:txBody>
          <a:bodyPr anchor="b"/>
          <a:lstStyle>
            <a:lvl1pPr algn="l"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29" name="Text Placeholder 6">
            <a:extLst>
              <a:ext uri="{FF2B5EF4-FFF2-40B4-BE49-F238E27FC236}">
                <a16:creationId xmlns:a16="http://schemas.microsoft.com/office/drawing/2014/main" id="{2111BB8B-7B37-4FB4-B2CD-984FE1C6C5E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92948" y="5138745"/>
            <a:ext cx="3657600" cy="355601"/>
          </a:xfrm>
        </p:spPr>
        <p:txBody>
          <a:bodyPr/>
          <a:lstStyle>
            <a:lvl1pPr algn="l"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Role / Division at VMwa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68E7D54E-C753-48F7-AB43-C7A586277F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92948" y="5494345"/>
            <a:ext cx="3657600" cy="265176"/>
          </a:xfrm>
        </p:spPr>
        <p:txBody>
          <a:bodyPr/>
          <a:lstStyle>
            <a:lvl1pPr algn="l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71B1726-E7C5-4C32-A22F-BB8C0CA833E9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0AEE4566-BDD0-43EB-8593-753B4AFC53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CDDDBBBD-2B47-4F32-9507-B47217AD31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9A63A2EB-B414-427C-8975-27B69B276D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4AFD0B14-399F-447F-BBDD-FF049C867FA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0778A2AC-9D1D-4FDB-973A-47DEA98860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52873CFF-17A0-467C-B061-5E3FD5E92C7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C351EEF9-CE8C-4948-8867-FDC697419B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576FCBCF-AFA0-4D2E-AF64-919BFE9B44B8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fidential   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©2019 VMware, Inc.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3" name="Ink 2">
                <a:extLst>
                  <a:ext uri="{FF2B5EF4-FFF2-40B4-BE49-F238E27FC236}">
                    <a16:creationId xmlns:a16="http://schemas.microsoft.com/office/drawing/2014/main" id="{229416F8-1B20-4892-97FA-108F191A5885}"/>
                  </a:ext>
                </a:extLst>
              </p14:cNvPr>
              <p14:cNvContentPartPr/>
              <p14:nvPr userDrawn="1"/>
            </p14:nvContentPartPr>
            <p14:xfrm>
              <a:off x="9859593" y="4881179"/>
              <a:ext cx="240" cy="240"/>
            </p14:xfrm>
          </p:contentPart>
        </mc:Choice>
        <mc:Fallback xmlns="">
          <p:pic>
            <p:nvPicPr>
              <p:cNvPr id="3" name="Ink 2">
                <a:extLst>
                  <a:ext uri="{FF2B5EF4-FFF2-40B4-BE49-F238E27FC236}">
                    <a16:creationId xmlns:a16="http://schemas.microsoft.com/office/drawing/2014/main" id="{229416F8-1B20-4892-97FA-108F191A5885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9855513" y="4877099"/>
                <a:ext cx="7920" cy="79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528487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6" name="TextBox 755">
            <a:extLst>
              <a:ext uri="{FF2B5EF4-FFF2-40B4-BE49-F238E27FC236}">
                <a16:creationId xmlns:a16="http://schemas.microsoft.com/office/drawing/2014/main" id="{2387BAEF-04D4-4DE9-B7A0-5B5AD8C8A831}"/>
              </a:ext>
            </a:extLst>
          </p:cNvPr>
          <p:cNvSpPr txBox="1"/>
          <p:nvPr userDrawn="1"/>
        </p:nvSpPr>
        <p:spPr>
          <a:xfrm>
            <a:off x="608013" y="1261594"/>
            <a:ext cx="1933864" cy="53489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3200">
                <a:solidFill>
                  <a:schemeClr val="accent2"/>
                </a:solidFill>
                <a:latin typeface="+mj-lt"/>
              </a:rPr>
              <a:t>Agenda</a:t>
            </a:r>
          </a:p>
        </p:txBody>
      </p:sp>
      <p:sp>
        <p:nvSpPr>
          <p:cNvPr id="730" name="TextBox 729">
            <a:extLst>
              <a:ext uri="{FF2B5EF4-FFF2-40B4-BE49-F238E27FC236}">
                <a16:creationId xmlns:a16="http://schemas.microsoft.com/office/drawing/2014/main" id="{AB8D1A6B-3CE6-468D-804E-6300F8B6DC81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solidFill>
                <a:schemeClr val="tx1"/>
              </a:solidFill>
              <a:latin typeface="+mj-lt"/>
            </a:endParaRPr>
          </a:p>
        </p:txBody>
      </p:sp>
      <p:sp>
        <p:nvSpPr>
          <p:cNvPr id="16" name="Text Placeholder 757">
            <a:extLst>
              <a:ext uri="{FF2B5EF4-FFF2-40B4-BE49-F238E27FC236}">
                <a16:creationId xmlns:a16="http://schemas.microsoft.com/office/drawing/2014/main" id="{B29EB907-51A5-4D60-B03A-85DECB7627F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94013" y="1359907"/>
            <a:ext cx="7315200" cy="4322783"/>
          </a:xfrm>
        </p:spPr>
        <p:txBody>
          <a:bodyPr anchor="t"/>
          <a:lstStyle>
            <a:lvl1pPr marL="0" indent="0">
              <a:spcBef>
                <a:spcPts val="1800"/>
              </a:spcBef>
              <a:buClr>
                <a:schemeClr val="accent2"/>
              </a:buClr>
              <a:buFont typeface="Open Sans" panose="020B0606030504020204" pitchFamily="34" charset="0"/>
              <a:buChar char="​"/>
              <a:defRPr>
                <a:solidFill>
                  <a:schemeClr val="accent4"/>
                </a:solidFill>
              </a:defRPr>
            </a:lvl1pPr>
            <a:lvl2pPr marL="0" indent="0"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  <a:lvl3pPr marL="342900" indent="0">
              <a:buFont typeface="Open Sans" panose="020B0606030504020204" pitchFamily="34" charset="0"/>
              <a:buNone/>
              <a:defRPr sz="1800"/>
            </a:lvl3pPr>
            <a:lvl4pPr marL="342900" indent="0">
              <a:buFont typeface="Open Sans" panose="020B0606030504020204" pitchFamily="34" charset="0"/>
              <a:buChar char="​"/>
              <a:tabLst/>
              <a:defRPr sz="1800">
                <a:solidFill>
                  <a:schemeClr val="tx2"/>
                </a:solidFill>
              </a:defRPr>
            </a:lvl4pPr>
            <a:lvl5pPr marL="342900" indent="0">
              <a:buFont typeface="Open Sans" panose="020B0606030504020204" pitchFamily="34" charset="0"/>
              <a:buChar char="​"/>
              <a:tabLst/>
              <a:defRPr sz="1800">
                <a:solidFill>
                  <a:schemeClr val="tx2"/>
                </a:solidFill>
              </a:defRPr>
            </a:lvl5pPr>
            <a:lvl6pPr marL="342900" indent="0">
              <a:buFont typeface="Open Sans" panose="020B0606030504020204" pitchFamily="34" charset="0"/>
              <a:buChar char="​"/>
              <a:defRPr sz="1800">
                <a:solidFill>
                  <a:schemeClr val="tx2"/>
                </a:solidFill>
              </a:defRPr>
            </a:lvl6pPr>
            <a:lvl7pPr marL="342900" indent="0">
              <a:buFont typeface="Open Sans" panose="020B0606030504020204" pitchFamily="34" charset="0"/>
              <a:buChar char="​"/>
              <a:defRPr sz="1800">
                <a:solidFill>
                  <a:schemeClr val="tx2"/>
                </a:solidFill>
              </a:defRPr>
            </a:lvl7pPr>
            <a:lvl8pPr marL="342900" indent="0">
              <a:buFont typeface="Open Sans" panose="020B0606030504020204" pitchFamily="34" charset="0"/>
              <a:buChar char="​"/>
              <a:defRPr sz="1800">
                <a:solidFill>
                  <a:schemeClr val="tx2"/>
                </a:solidFill>
              </a:defRPr>
            </a:lvl8pPr>
            <a:lvl9pPr marL="342900" indent="0">
              <a:buFont typeface="Open Sans" panose="020B0606030504020204" pitchFamily="34" charset="0"/>
              <a:buChar char="​"/>
              <a:defRPr sz="18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479192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9108" y="938794"/>
            <a:ext cx="6427626" cy="1229360"/>
          </a:xfrm>
        </p:spPr>
        <p:txBody>
          <a:bodyPr wrap="square" anchor="b"/>
          <a:lstStyle>
            <a:lvl1pPr algn="l">
              <a:defRPr sz="3600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28" name="Subtitle 2">
            <a:extLst>
              <a:ext uri="{FF2B5EF4-FFF2-40B4-BE49-F238E27FC236}">
                <a16:creationId xmlns:a16="http://schemas.microsoft.com/office/drawing/2014/main" id="{6EBAFA4D-7B92-4E38-8320-94F3BCA2E41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02966" y="2270788"/>
            <a:ext cx="6408402" cy="70088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accent4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tex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E46B5F2-170B-43F3-865D-92F5CD3F3546}"/>
              </a:ext>
            </a:extLst>
          </p:cNvPr>
          <p:cNvSpPr txBox="1"/>
          <p:nvPr userDrawn="1"/>
        </p:nvSpPr>
        <p:spPr bwMode="white"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F062DFBC-6461-46E5-9A65-C2BA6B55FAA7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067657A-03A1-4F4F-AD0D-A5B15521E8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03F0FBFF-D44D-482A-B547-D551EA5D3C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9A9535C7-EA42-4FC0-BF2F-9F86B58ECC7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E775250D-8931-4334-BAE4-BDDB0695417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46FFD602-6135-4BEE-BB2A-C867FBE1FF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14A9D646-E9F0-4A52-BD9E-F04121BF45F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A919FBF8-B563-4387-B270-79EB182CF7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5B407C40-A805-4838-8B00-1B2AAC94FDCD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9428A741-FAD5-4234-862D-6AB7431CF1B6}"/>
              </a:ext>
            </a:extLst>
          </p:cNvPr>
          <p:cNvSpPr/>
          <p:nvPr userDrawn="1"/>
        </p:nvSpPr>
        <p:spPr>
          <a:xfrm rot="2700000">
            <a:off x="7247491" y="-1003602"/>
            <a:ext cx="3505682" cy="10673146"/>
          </a:xfrm>
          <a:custGeom>
            <a:avLst/>
            <a:gdLst>
              <a:gd name="connsiteX0" fmla="*/ 0 w 3505682"/>
              <a:gd name="connsiteY0" fmla="*/ 925479 h 10673146"/>
              <a:gd name="connsiteX1" fmla="*/ 925478 w 3505682"/>
              <a:gd name="connsiteY1" fmla="*/ 0 h 10673146"/>
              <a:gd name="connsiteX2" fmla="*/ 3505682 w 3505682"/>
              <a:gd name="connsiteY2" fmla="*/ 2580205 h 10673146"/>
              <a:gd name="connsiteX3" fmla="*/ 3505682 w 3505682"/>
              <a:gd name="connsiteY3" fmla="*/ 7167464 h 10673146"/>
              <a:gd name="connsiteX4" fmla="*/ 0 w 3505682"/>
              <a:gd name="connsiteY4" fmla="*/ 10673146 h 10673146"/>
              <a:gd name="connsiteX5" fmla="*/ 0 w 3505682"/>
              <a:gd name="connsiteY5" fmla="*/ 925479 h 10673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05682" h="10673146">
                <a:moveTo>
                  <a:pt x="0" y="925479"/>
                </a:moveTo>
                <a:lnTo>
                  <a:pt x="925478" y="0"/>
                </a:lnTo>
                <a:lnTo>
                  <a:pt x="3505682" y="2580205"/>
                </a:lnTo>
                <a:lnTo>
                  <a:pt x="3505682" y="7167464"/>
                </a:lnTo>
                <a:lnTo>
                  <a:pt x="0" y="10673146"/>
                </a:lnTo>
                <a:lnTo>
                  <a:pt x="0" y="925479"/>
                </a:lnTo>
                <a:close/>
              </a:path>
            </a:pathLst>
          </a:custGeom>
          <a:gradFill>
            <a:gsLst>
              <a:gs pos="24000">
                <a:schemeClr val="accent4"/>
              </a:gs>
              <a:gs pos="87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8D3A6683-B1EA-4507-96A9-030793602B44}"/>
              </a:ext>
            </a:extLst>
          </p:cNvPr>
          <p:cNvSpPr/>
          <p:nvPr userDrawn="1"/>
        </p:nvSpPr>
        <p:spPr>
          <a:xfrm rot="2700000">
            <a:off x="9753830" y="1674737"/>
            <a:ext cx="970552" cy="6485190"/>
          </a:xfrm>
          <a:custGeom>
            <a:avLst/>
            <a:gdLst>
              <a:gd name="connsiteX0" fmla="*/ 1 w 970552"/>
              <a:gd name="connsiteY0" fmla="*/ 0 h 6485190"/>
              <a:gd name="connsiteX1" fmla="*/ 970552 w 970552"/>
              <a:gd name="connsiteY1" fmla="*/ 970551 h 6485190"/>
              <a:gd name="connsiteX2" fmla="*/ 970552 w 970552"/>
              <a:gd name="connsiteY2" fmla="*/ 5514638 h 6485190"/>
              <a:gd name="connsiteX3" fmla="*/ 0 w 970552"/>
              <a:gd name="connsiteY3" fmla="*/ 6485190 h 64851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0552" h="6485190">
                <a:moveTo>
                  <a:pt x="1" y="0"/>
                </a:moveTo>
                <a:lnTo>
                  <a:pt x="970552" y="970551"/>
                </a:lnTo>
                <a:lnTo>
                  <a:pt x="970552" y="5514638"/>
                </a:lnTo>
                <a:lnTo>
                  <a:pt x="0" y="6485190"/>
                </a:lnTo>
                <a:close/>
              </a:path>
            </a:pathLst>
          </a:custGeom>
          <a:gradFill>
            <a:gsLst>
              <a:gs pos="94000">
                <a:schemeClr val="bg1"/>
              </a:gs>
              <a:gs pos="16000">
                <a:schemeClr val="accent4"/>
              </a:gs>
              <a:gs pos="76000">
                <a:schemeClr val="bg1">
                  <a:alpha val="91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0294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– Plu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9108" y="938794"/>
            <a:ext cx="6427626" cy="1229360"/>
          </a:xfrm>
        </p:spPr>
        <p:txBody>
          <a:bodyPr wrap="square" anchor="b"/>
          <a:lstStyle>
            <a:lvl1pPr algn="l">
              <a:defRPr sz="3600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28" name="Subtitle 2">
            <a:extLst>
              <a:ext uri="{FF2B5EF4-FFF2-40B4-BE49-F238E27FC236}">
                <a16:creationId xmlns:a16="http://schemas.microsoft.com/office/drawing/2014/main" id="{6EBAFA4D-7B92-4E38-8320-94F3BCA2E41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02966" y="2267712"/>
            <a:ext cx="6408402" cy="70088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tex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E46B5F2-170B-43F3-865D-92F5CD3F3546}"/>
              </a:ext>
            </a:extLst>
          </p:cNvPr>
          <p:cNvSpPr txBox="1"/>
          <p:nvPr userDrawn="1"/>
        </p:nvSpPr>
        <p:spPr bwMode="white"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F062DFBC-6461-46E5-9A65-C2BA6B55FAA7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067657A-03A1-4F4F-AD0D-A5B15521E8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03F0FBFF-D44D-482A-B547-D551EA5D3C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9A9535C7-EA42-4FC0-BF2F-9F86B58ECC7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E775250D-8931-4334-BAE4-BDDB0695417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46FFD602-6135-4BEE-BB2A-C867FBE1FF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14A9D646-E9F0-4A52-BD9E-F04121BF45F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A919FBF8-B563-4387-B270-79EB182CF7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5B407C40-A805-4838-8B00-1B2AAC94FDCD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9428A741-FAD5-4234-862D-6AB7431CF1B6}"/>
              </a:ext>
            </a:extLst>
          </p:cNvPr>
          <p:cNvSpPr/>
          <p:nvPr userDrawn="1"/>
        </p:nvSpPr>
        <p:spPr>
          <a:xfrm rot="2700000">
            <a:off x="7247491" y="-1003602"/>
            <a:ext cx="3505682" cy="10673146"/>
          </a:xfrm>
          <a:custGeom>
            <a:avLst/>
            <a:gdLst>
              <a:gd name="connsiteX0" fmla="*/ 0 w 3505682"/>
              <a:gd name="connsiteY0" fmla="*/ 925479 h 10673146"/>
              <a:gd name="connsiteX1" fmla="*/ 925478 w 3505682"/>
              <a:gd name="connsiteY1" fmla="*/ 0 h 10673146"/>
              <a:gd name="connsiteX2" fmla="*/ 3505682 w 3505682"/>
              <a:gd name="connsiteY2" fmla="*/ 2580205 h 10673146"/>
              <a:gd name="connsiteX3" fmla="*/ 3505682 w 3505682"/>
              <a:gd name="connsiteY3" fmla="*/ 7167464 h 10673146"/>
              <a:gd name="connsiteX4" fmla="*/ 0 w 3505682"/>
              <a:gd name="connsiteY4" fmla="*/ 10673146 h 10673146"/>
              <a:gd name="connsiteX5" fmla="*/ 0 w 3505682"/>
              <a:gd name="connsiteY5" fmla="*/ 925479 h 10673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05682" h="10673146">
                <a:moveTo>
                  <a:pt x="0" y="925479"/>
                </a:moveTo>
                <a:lnTo>
                  <a:pt x="925478" y="0"/>
                </a:lnTo>
                <a:lnTo>
                  <a:pt x="3505682" y="2580205"/>
                </a:lnTo>
                <a:lnTo>
                  <a:pt x="3505682" y="7167464"/>
                </a:lnTo>
                <a:lnTo>
                  <a:pt x="0" y="10673146"/>
                </a:lnTo>
                <a:lnTo>
                  <a:pt x="0" y="925479"/>
                </a:lnTo>
                <a:close/>
              </a:path>
            </a:pathLst>
          </a:custGeom>
          <a:gradFill>
            <a:gsLst>
              <a:gs pos="24000">
                <a:srgbClr val="7F35AB"/>
              </a:gs>
              <a:gs pos="87000">
                <a:srgbClr val="264088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8D3A6683-B1EA-4507-96A9-030793602B44}"/>
              </a:ext>
            </a:extLst>
          </p:cNvPr>
          <p:cNvSpPr/>
          <p:nvPr userDrawn="1"/>
        </p:nvSpPr>
        <p:spPr>
          <a:xfrm rot="2700000">
            <a:off x="9753830" y="1674737"/>
            <a:ext cx="970552" cy="6485190"/>
          </a:xfrm>
          <a:custGeom>
            <a:avLst/>
            <a:gdLst>
              <a:gd name="connsiteX0" fmla="*/ 1 w 970552"/>
              <a:gd name="connsiteY0" fmla="*/ 0 h 6485190"/>
              <a:gd name="connsiteX1" fmla="*/ 970552 w 970552"/>
              <a:gd name="connsiteY1" fmla="*/ 970551 h 6485190"/>
              <a:gd name="connsiteX2" fmla="*/ 970552 w 970552"/>
              <a:gd name="connsiteY2" fmla="*/ 5514638 h 6485190"/>
              <a:gd name="connsiteX3" fmla="*/ 0 w 970552"/>
              <a:gd name="connsiteY3" fmla="*/ 6485190 h 64851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0552" h="6485190">
                <a:moveTo>
                  <a:pt x="1" y="0"/>
                </a:moveTo>
                <a:lnTo>
                  <a:pt x="970552" y="970551"/>
                </a:lnTo>
                <a:lnTo>
                  <a:pt x="970552" y="5514638"/>
                </a:lnTo>
                <a:lnTo>
                  <a:pt x="0" y="6485190"/>
                </a:lnTo>
                <a:close/>
              </a:path>
            </a:pathLst>
          </a:custGeom>
          <a:gradFill>
            <a:gsLst>
              <a:gs pos="20000">
                <a:srgbClr val="7F35AB"/>
              </a:gs>
              <a:gs pos="95000">
                <a:schemeClr val="bg1"/>
              </a:gs>
              <a:gs pos="74000">
                <a:schemeClr val="bg1">
                  <a:alpha val="79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987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–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9108" y="938794"/>
            <a:ext cx="6427626" cy="1229360"/>
          </a:xfrm>
        </p:spPr>
        <p:txBody>
          <a:bodyPr wrap="square" anchor="b"/>
          <a:lstStyle>
            <a:lvl1pPr algn="l">
              <a:defRPr sz="3600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28" name="Subtitle 2">
            <a:extLst>
              <a:ext uri="{FF2B5EF4-FFF2-40B4-BE49-F238E27FC236}">
                <a16:creationId xmlns:a16="http://schemas.microsoft.com/office/drawing/2014/main" id="{6EBAFA4D-7B92-4E38-8320-94F3BCA2E41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02966" y="2267712"/>
            <a:ext cx="6408402" cy="70088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tex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E46B5F2-170B-43F3-865D-92F5CD3F3546}"/>
              </a:ext>
            </a:extLst>
          </p:cNvPr>
          <p:cNvSpPr txBox="1"/>
          <p:nvPr userDrawn="1"/>
        </p:nvSpPr>
        <p:spPr bwMode="white"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F062DFBC-6461-46E5-9A65-C2BA6B55FAA7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067657A-03A1-4F4F-AD0D-A5B15521E8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03F0FBFF-D44D-482A-B547-D551EA5D3C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9A9535C7-EA42-4FC0-BF2F-9F86B58ECC7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E775250D-8931-4334-BAE4-BDDB0695417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46FFD602-6135-4BEE-BB2A-C867FBE1FF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14A9D646-E9F0-4A52-BD9E-F04121BF45F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A919FBF8-B563-4387-B270-79EB182CF7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5B407C40-A805-4838-8B00-1B2AAC94FDCD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9428A741-FAD5-4234-862D-6AB7431CF1B6}"/>
              </a:ext>
            </a:extLst>
          </p:cNvPr>
          <p:cNvSpPr/>
          <p:nvPr userDrawn="1"/>
        </p:nvSpPr>
        <p:spPr>
          <a:xfrm rot="2700000">
            <a:off x="7247491" y="-1003602"/>
            <a:ext cx="3505682" cy="10673146"/>
          </a:xfrm>
          <a:custGeom>
            <a:avLst/>
            <a:gdLst>
              <a:gd name="connsiteX0" fmla="*/ 0 w 3505682"/>
              <a:gd name="connsiteY0" fmla="*/ 925479 h 10673146"/>
              <a:gd name="connsiteX1" fmla="*/ 925478 w 3505682"/>
              <a:gd name="connsiteY1" fmla="*/ 0 h 10673146"/>
              <a:gd name="connsiteX2" fmla="*/ 3505682 w 3505682"/>
              <a:gd name="connsiteY2" fmla="*/ 2580205 h 10673146"/>
              <a:gd name="connsiteX3" fmla="*/ 3505682 w 3505682"/>
              <a:gd name="connsiteY3" fmla="*/ 7167464 h 10673146"/>
              <a:gd name="connsiteX4" fmla="*/ 0 w 3505682"/>
              <a:gd name="connsiteY4" fmla="*/ 10673146 h 10673146"/>
              <a:gd name="connsiteX5" fmla="*/ 0 w 3505682"/>
              <a:gd name="connsiteY5" fmla="*/ 925479 h 10673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05682" h="10673146">
                <a:moveTo>
                  <a:pt x="0" y="925479"/>
                </a:moveTo>
                <a:lnTo>
                  <a:pt x="925478" y="0"/>
                </a:lnTo>
                <a:lnTo>
                  <a:pt x="3505682" y="2580205"/>
                </a:lnTo>
                <a:lnTo>
                  <a:pt x="3505682" y="7167464"/>
                </a:lnTo>
                <a:lnTo>
                  <a:pt x="0" y="10673146"/>
                </a:lnTo>
                <a:lnTo>
                  <a:pt x="0" y="925479"/>
                </a:lnTo>
                <a:close/>
              </a:path>
            </a:pathLst>
          </a:custGeom>
          <a:gradFill>
            <a:gsLst>
              <a:gs pos="24000">
                <a:schemeClr val="accent3"/>
              </a:gs>
              <a:gs pos="87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8D3A6683-B1EA-4507-96A9-030793602B44}"/>
              </a:ext>
            </a:extLst>
          </p:cNvPr>
          <p:cNvSpPr/>
          <p:nvPr userDrawn="1"/>
        </p:nvSpPr>
        <p:spPr>
          <a:xfrm rot="2700000">
            <a:off x="9753830" y="1674737"/>
            <a:ext cx="970552" cy="6485190"/>
          </a:xfrm>
          <a:custGeom>
            <a:avLst/>
            <a:gdLst>
              <a:gd name="connsiteX0" fmla="*/ 1 w 970552"/>
              <a:gd name="connsiteY0" fmla="*/ 0 h 6485190"/>
              <a:gd name="connsiteX1" fmla="*/ 970552 w 970552"/>
              <a:gd name="connsiteY1" fmla="*/ 970551 h 6485190"/>
              <a:gd name="connsiteX2" fmla="*/ 970552 w 970552"/>
              <a:gd name="connsiteY2" fmla="*/ 5514638 h 6485190"/>
              <a:gd name="connsiteX3" fmla="*/ 0 w 970552"/>
              <a:gd name="connsiteY3" fmla="*/ 6485190 h 64851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0552" h="6485190">
                <a:moveTo>
                  <a:pt x="1" y="0"/>
                </a:moveTo>
                <a:lnTo>
                  <a:pt x="970552" y="970551"/>
                </a:lnTo>
                <a:lnTo>
                  <a:pt x="970552" y="5514638"/>
                </a:lnTo>
                <a:lnTo>
                  <a:pt x="0" y="6485190"/>
                </a:lnTo>
                <a:close/>
              </a:path>
            </a:pathLst>
          </a:custGeom>
          <a:gradFill>
            <a:gsLst>
              <a:gs pos="24000">
                <a:schemeClr val="accent3"/>
              </a:gs>
              <a:gs pos="80511">
                <a:schemeClr val="bg1">
                  <a:alpha val="76000"/>
                </a:schemeClr>
              </a:gs>
              <a:gs pos="100000">
                <a:schemeClr val="bg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1792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Phot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sosceles Triangle 1">
            <a:extLst>
              <a:ext uri="{FF2B5EF4-FFF2-40B4-BE49-F238E27FC236}">
                <a16:creationId xmlns:a16="http://schemas.microsoft.com/office/drawing/2014/main" id="{B4BC3A27-8DAD-4476-9725-CF11880123D8}"/>
              </a:ext>
            </a:extLst>
          </p:cNvPr>
          <p:cNvSpPr/>
          <p:nvPr userDrawn="1"/>
        </p:nvSpPr>
        <p:spPr>
          <a:xfrm>
            <a:off x="8943276" y="3622876"/>
            <a:ext cx="3251263" cy="3253579"/>
          </a:xfrm>
          <a:prstGeom prst="triangle">
            <a:avLst>
              <a:gd name="adj" fmla="val 10000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046FCD12-70AD-43E4-97A5-E350476D993C}"/>
              </a:ext>
            </a:extLst>
          </p:cNvPr>
          <p:cNvSpPr/>
          <p:nvPr userDrawn="1"/>
        </p:nvSpPr>
        <p:spPr>
          <a:xfrm rot="10800000">
            <a:off x="-1" y="-1"/>
            <a:ext cx="10873127" cy="6868836"/>
          </a:xfrm>
          <a:custGeom>
            <a:avLst/>
            <a:gdLst>
              <a:gd name="connsiteX0" fmla="*/ 10873127 w 10873127"/>
              <a:gd name="connsiteY0" fmla="*/ 6868836 h 6868836"/>
              <a:gd name="connsiteX1" fmla="*/ 0 w 10873127"/>
              <a:gd name="connsiteY1" fmla="*/ 6868836 h 6868836"/>
              <a:gd name="connsiteX2" fmla="*/ 6863947 w 10873127"/>
              <a:gd name="connsiteY2" fmla="*/ 0 h 6868836"/>
              <a:gd name="connsiteX3" fmla="*/ 10873127 w 10873127"/>
              <a:gd name="connsiteY3" fmla="*/ 0 h 6868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873127" h="6868836">
                <a:moveTo>
                  <a:pt x="10873127" y="6868836"/>
                </a:moveTo>
                <a:lnTo>
                  <a:pt x="0" y="6868836"/>
                </a:lnTo>
                <a:lnTo>
                  <a:pt x="6863947" y="0"/>
                </a:lnTo>
                <a:lnTo>
                  <a:pt x="10873127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EAC21F4-620C-4207-A01D-C082619C707B}"/>
              </a:ext>
            </a:extLst>
          </p:cNvPr>
          <p:cNvSpPr txBox="1"/>
          <p:nvPr userDrawn="1"/>
        </p:nvSpPr>
        <p:spPr bwMode="white"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solidFill>
                <a:schemeClr val="tx1"/>
              </a:solidFill>
              <a:latin typeface="+mj-lt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AC6091C-E947-4C0C-85B0-C87C084ACB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9108" y="938794"/>
            <a:ext cx="6427626" cy="1229360"/>
          </a:xfrm>
        </p:spPr>
        <p:txBody>
          <a:bodyPr wrap="square" anchor="b"/>
          <a:lstStyle>
            <a:lvl1pPr algn="l">
              <a:defRPr sz="3600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A2044BBD-0109-43FF-A52D-8FA2841A4DF6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02966" y="2267712"/>
            <a:ext cx="6408402" cy="70088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accent4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text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D0EECB4-F8FF-42F6-B913-97C4F2956537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A2743E06-9EDE-42AB-954B-24AD2E0EDE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F727B63B-9DDF-4464-B305-91E2F1F53A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BE99358C-EF1D-4887-8E23-C6B6EFECC05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AB115210-A643-4048-8CE2-AE858AA6D28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DADAB024-3024-4445-96A4-008D5EBBB3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8C49FA45-007B-4A99-BFB8-737C3A292BE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6" name="Freeform 12">
              <a:extLst>
                <a:ext uri="{FF2B5EF4-FFF2-40B4-BE49-F238E27FC236}">
                  <a16:creationId xmlns:a16="http://schemas.microsoft.com/office/drawing/2014/main" id="{6AD6968C-6030-4061-9BA9-3E345BE073B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9267F80E-E3AF-43A3-AA96-C701371ACCD5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C7F4685D-9D09-447C-9352-68EBB79D3FB6}"/>
              </a:ext>
            </a:extLst>
          </p:cNvPr>
          <p:cNvSpPr/>
          <p:nvPr userDrawn="1"/>
        </p:nvSpPr>
        <p:spPr>
          <a:xfrm rot="2700000">
            <a:off x="9037252" y="3334944"/>
            <a:ext cx="970552" cy="4540137"/>
          </a:xfrm>
          <a:custGeom>
            <a:avLst/>
            <a:gdLst>
              <a:gd name="connsiteX0" fmla="*/ 1 w 970552"/>
              <a:gd name="connsiteY0" fmla="*/ 970551 h 4540137"/>
              <a:gd name="connsiteX1" fmla="*/ 970552 w 970552"/>
              <a:gd name="connsiteY1" fmla="*/ 0 h 4540137"/>
              <a:gd name="connsiteX2" fmla="*/ 970552 w 970552"/>
              <a:gd name="connsiteY2" fmla="*/ 3569585 h 4540137"/>
              <a:gd name="connsiteX3" fmla="*/ 0 w 970552"/>
              <a:gd name="connsiteY3" fmla="*/ 4540137 h 4540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0552" h="4540137">
                <a:moveTo>
                  <a:pt x="1" y="970551"/>
                </a:moveTo>
                <a:lnTo>
                  <a:pt x="970552" y="0"/>
                </a:lnTo>
                <a:lnTo>
                  <a:pt x="970552" y="3569585"/>
                </a:lnTo>
                <a:lnTo>
                  <a:pt x="0" y="4540137"/>
                </a:lnTo>
                <a:close/>
              </a:path>
            </a:pathLst>
          </a:custGeom>
          <a:gradFill>
            <a:gsLst>
              <a:gs pos="0">
                <a:schemeClr val="accent4">
                  <a:alpha val="64000"/>
                </a:schemeClr>
              </a:gs>
              <a:gs pos="83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7095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Photo – Plum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046FCD12-70AD-43E4-97A5-E350476D993C}"/>
              </a:ext>
            </a:extLst>
          </p:cNvPr>
          <p:cNvSpPr/>
          <p:nvPr userDrawn="1"/>
        </p:nvSpPr>
        <p:spPr>
          <a:xfrm rot="10800000">
            <a:off x="-1" y="-1"/>
            <a:ext cx="10873127" cy="6868836"/>
          </a:xfrm>
          <a:custGeom>
            <a:avLst/>
            <a:gdLst>
              <a:gd name="connsiteX0" fmla="*/ 10873127 w 10873127"/>
              <a:gd name="connsiteY0" fmla="*/ 6868836 h 6868836"/>
              <a:gd name="connsiteX1" fmla="*/ 0 w 10873127"/>
              <a:gd name="connsiteY1" fmla="*/ 6868836 h 6868836"/>
              <a:gd name="connsiteX2" fmla="*/ 6863947 w 10873127"/>
              <a:gd name="connsiteY2" fmla="*/ 0 h 6868836"/>
              <a:gd name="connsiteX3" fmla="*/ 10873127 w 10873127"/>
              <a:gd name="connsiteY3" fmla="*/ 0 h 6868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873127" h="6868836">
                <a:moveTo>
                  <a:pt x="10873127" y="6868836"/>
                </a:moveTo>
                <a:lnTo>
                  <a:pt x="0" y="6868836"/>
                </a:lnTo>
                <a:lnTo>
                  <a:pt x="6863947" y="0"/>
                </a:lnTo>
                <a:lnTo>
                  <a:pt x="10873127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AC6091C-E947-4C0C-85B0-C87C084ACB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9108" y="938794"/>
            <a:ext cx="6427626" cy="1229360"/>
          </a:xfrm>
        </p:spPr>
        <p:txBody>
          <a:bodyPr wrap="square" anchor="b"/>
          <a:lstStyle>
            <a:lvl1pPr algn="l">
              <a:defRPr sz="3600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A2044BBD-0109-43FF-A52D-8FA2841A4DF6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02966" y="2267712"/>
            <a:ext cx="6408402" cy="70088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text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D0EECB4-F8FF-42F6-B913-97C4F2956537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A2743E06-9EDE-42AB-954B-24AD2E0EDE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F727B63B-9DDF-4464-B305-91E2F1F53A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BE99358C-EF1D-4887-8E23-C6B6EFECC05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AB115210-A643-4048-8CE2-AE858AA6D28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DADAB024-3024-4445-96A4-008D5EBBB3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8C49FA45-007B-4A99-BFB8-737C3A292BE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6" name="Freeform 12">
              <a:extLst>
                <a:ext uri="{FF2B5EF4-FFF2-40B4-BE49-F238E27FC236}">
                  <a16:creationId xmlns:a16="http://schemas.microsoft.com/office/drawing/2014/main" id="{6AD6968C-6030-4061-9BA9-3E345BE073B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9267F80E-E3AF-43A3-AA96-C701371ACCD5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1B9CF672-C886-4A4A-B8C7-6054BDA7C6F8}"/>
              </a:ext>
            </a:extLst>
          </p:cNvPr>
          <p:cNvSpPr/>
          <p:nvPr userDrawn="1"/>
        </p:nvSpPr>
        <p:spPr>
          <a:xfrm>
            <a:off x="8943276" y="3622876"/>
            <a:ext cx="3251263" cy="3253579"/>
          </a:xfrm>
          <a:prstGeom prst="triangle">
            <a:avLst>
              <a:gd name="adj" fmla="val 10000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279CBF5F-64CA-43B4-BB06-18EC3F20B58A}"/>
              </a:ext>
            </a:extLst>
          </p:cNvPr>
          <p:cNvSpPr/>
          <p:nvPr userDrawn="1"/>
        </p:nvSpPr>
        <p:spPr>
          <a:xfrm rot="2700000">
            <a:off x="9037252" y="3334944"/>
            <a:ext cx="970552" cy="4540137"/>
          </a:xfrm>
          <a:custGeom>
            <a:avLst/>
            <a:gdLst>
              <a:gd name="connsiteX0" fmla="*/ 1 w 970552"/>
              <a:gd name="connsiteY0" fmla="*/ 970551 h 4540137"/>
              <a:gd name="connsiteX1" fmla="*/ 970552 w 970552"/>
              <a:gd name="connsiteY1" fmla="*/ 0 h 4540137"/>
              <a:gd name="connsiteX2" fmla="*/ 970552 w 970552"/>
              <a:gd name="connsiteY2" fmla="*/ 3569585 h 4540137"/>
              <a:gd name="connsiteX3" fmla="*/ 0 w 970552"/>
              <a:gd name="connsiteY3" fmla="*/ 4540137 h 4540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0552" h="4540137">
                <a:moveTo>
                  <a:pt x="1" y="970551"/>
                </a:moveTo>
                <a:lnTo>
                  <a:pt x="970552" y="0"/>
                </a:lnTo>
                <a:lnTo>
                  <a:pt x="970552" y="3569585"/>
                </a:lnTo>
                <a:lnTo>
                  <a:pt x="0" y="4540137"/>
                </a:lnTo>
                <a:close/>
              </a:path>
            </a:pathLst>
          </a:custGeom>
          <a:gradFill>
            <a:gsLst>
              <a:gs pos="24000">
                <a:srgbClr val="7F35AB">
                  <a:alpha val="57000"/>
                </a:srgbClr>
              </a:gs>
              <a:gs pos="87000">
                <a:srgbClr val="264088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EAC21F4-620C-4207-A01D-C082619C707B}"/>
              </a:ext>
            </a:extLst>
          </p:cNvPr>
          <p:cNvSpPr txBox="1"/>
          <p:nvPr userDrawn="1"/>
        </p:nvSpPr>
        <p:spPr bwMode="white"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726922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9108" y="938794"/>
            <a:ext cx="6427626" cy="1229360"/>
          </a:xfrm>
        </p:spPr>
        <p:txBody>
          <a:bodyPr wrap="square" anchor="b"/>
          <a:lstStyle>
            <a:lvl1pPr algn="l">
              <a:defRPr sz="3600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28" name="Subtitle 2">
            <a:extLst>
              <a:ext uri="{FF2B5EF4-FFF2-40B4-BE49-F238E27FC236}">
                <a16:creationId xmlns:a16="http://schemas.microsoft.com/office/drawing/2014/main" id="{6EBAFA4D-7B92-4E38-8320-94F3BCA2E41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02966" y="2270788"/>
            <a:ext cx="6408402" cy="70088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accent4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tex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E46B5F2-170B-43F3-865D-92F5CD3F3546}"/>
              </a:ext>
            </a:extLst>
          </p:cNvPr>
          <p:cNvSpPr txBox="1"/>
          <p:nvPr userDrawn="1"/>
        </p:nvSpPr>
        <p:spPr bwMode="white"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dirty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F062DFBC-6461-46E5-9A65-C2BA6B55FAA7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067657A-03A1-4F4F-AD0D-A5B15521E8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03F0FBFF-D44D-482A-B547-D551EA5D3C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9A9535C7-EA42-4FC0-BF2F-9F86B58ECC7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E775250D-8931-4334-BAE4-BDDB0695417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46FFD602-6135-4BEE-BB2A-C867FBE1FF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14A9D646-E9F0-4A52-BD9E-F04121BF45F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A919FBF8-B563-4387-B270-79EB182CF7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5B407C40-A805-4838-8B00-1B2AAC94FDCD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9428A741-FAD5-4234-862D-6AB7431CF1B6}"/>
              </a:ext>
            </a:extLst>
          </p:cNvPr>
          <p:cNvSpPr/>
          <p:nvPr userDrawn="1"/>
        </p:nvSpPr>
        <p:spPr>
          <a:xfrm rot="2700000">
            <a:off x="7247491" y="-1003602"/>
            <a:ext cx="3505682" cy="10673146"/>
          </a:xfrm>
          <a:custGeom>
            <a:avLst/>
            <a:gdLst>
              <a:gd name="connsiteX0" fmla="*/ 0 w 3505682"/>
              <a:gd name="connsiteY0" fmla="*/ 925479 h 10673146"/>
              <a:gd name="connsiteX1" fmla="*/ 925478 w 3505682"/>
              <a:gd name="connsiteY1" fmla="*/ 0 h 10673146"/>
              <a:gd name="connsiteX2" fmla="*/ 3505682 w 3505682"/>
              <a:gd name="connsiteY2" fmla="*/ 2580205 h 10673146"/>
              <a:gd name="connsiteX3" fmla="*/ 3505682 w 3505682"/>
              <a:gd name="connsiteY3" fmla="*/ 7167464 h 10673146"/>
              <a:gd name="connsiteX4" fmla="*/ 0 w 3505682"/>
              <a:gd name="connsiteY4" fmla="*/ 10673146 h 10673146"/>
              <a:gd name="connsiteX5" fmla="*/ 0 w 3505682"/>
              <a:gd name="connsiteY5" fmla="*/ 925479 h 10673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05682" h="10673146">
                <a:moveTo>
                  <a:pt x="0" y="925479"/>
                </a:moveTo>
                <a:lnTo>
                  <a:pt x="925478" y="0"/>
                </a:lnTo>
                <a:lnTo>
                  <a:pt x="3505682" y="2580205"/>
                </a:lnTo>
                <a:lnTo>
                  <a:pt x="3505682" y="7167464"/>
                </a:lnTo>
                <a:lnTo>
                  <a:pt x="0" y="10673146"/>
                </a:lnTo>
                <a:lnTo>
                  <a:pt x="0" y="925479"/>
                </a:lnTo>
                <a:close/>
              </a:path>
            </a:pathLst>
          </a:custGeom>
          <a:gradFill>
            <a:gsLst>
              <a:gs pos="24000">
                <a:schemeClr val="accent4"/>
              </a:gs>
              <a:gs pos="87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8D3A6683-B1EA-4507-96A9-030793602B44}"/>
              </a:ext>
            </a:extLst>
          </p:cNvPr>
          <p:cNvSpPr/>
          <p:nvPr userDrawn="1"/>
        </p:nvSpPr>
        <p:spPr>
          <a:xfrm rot="2700000">
            <a:off x="9753830" y="1674737"/>
            <a:ext cx="970552" cy="6485190"/>
          </a:xfrm>
          <a:custGeom>
            <a:avLst/>
            <a:gdLst>
              <a:gd name="connsiteX0" fmla="*/ 1 w 970552"/>
              <a:gd name="connsiteY0" fmla="*/ 0 h 6485190"/>
              <a:gd name="connsiteX1" fmla="*/ 970552 w 970552"/>
              <a:gd name="connsiteY1" fmla="*/ 970551 h 6485190"/>
              <a:gd name="connsiteX2" fmla="*/ 970552 w 970552"/>
              <a:gd name="connsiteY2" fmla="*/ 5514638 h 6485190"/>
              <a:gd name="connsiteX3" fmla="*/ 0 w 970552"/>
              <a:gd name="connsiteY3" fmla="*/ 6485190 h 64851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0552" h="6485190">
                <a:moveTo>
                  <a:pt x="1" y="0"/>
                </a:moveTo>
                <a:lnTo>
                  <a:pt x="970552" y="970551"/>
                </a:lnTo>
                <a:lnTo>
                  <a:pt x="970552" y="5514638"/>
                </a:lnTo>
                <a:lnTo>
                  <a:pt x="0" y="6485190"/>
                </a:lnTo>
                <a:close/>
              </a:path>
            </a:pathLst>
          </a:custGeom>
          <a:gradFill>
            <a:gsLst>
              <a:gs pos="94000">
                <a:schemeClr val="bg1"/>
              </a:gs>
              <a:gs pos="16000">
                <a:schemeClr val="accent4"/>
              </a:gs>
              <a:gs pos="76000">
                <a:schemeClr val="bg1">
                  <a:alpha val="91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2887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Photo – Aqu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3782B963-3DE7-4086-92ED-CD92BCC38428}"/>
              </a:ext>
            </a:extLst>
          </p:cNvPr>
          <p:cNvSpPr/>
          <p:nvPr userDrawn="1"/>
        </p:nvSpPr>
        <p:spPr>
          <a:xfrm>
            <a:off x="8943276" y="3622876"/>
            <a:ext cx="3251263" cy="3253579"/>
          </a:xfrm>
          <a:prstGeom prst="triangle">
            <a:avLst>
              <a:gd name="adj" fmla="val 10000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B634BC28-ECEA-4006-A436-B22F54417FE9}"/>
              </a:ext>
            </a:extLst>
          </p:cNvPr>
          <p:cNvSpPr/>
          <p:nvPr userDrawn="1"/>
        </p:nvSpPr>
        <p:spPr>
          <a:xfrm rot="2700000">
            <a:off x="9037252" y="3334944"/>
            <a:ext cx="970552" cy="4540137"/>
          </a:xfrm>
          <a:custGeom>
            <a:avLst/>
            <a:gdLst>
              <a:gd name="connsiteX0" fmla="*/ 1 w 970552"/>
              <a:gd name="connsiteY0" fmla="*/ 970551 h 4540137"/>
              <a:gd name="connsiteX1" fmla="*/ 970552 w 970552"/>
              <a:gd name="connsiteY1" fmla="*/ 0 h 4540137"/>
              <a:gd name="connsiteX2" fmla="*/ 970552 w 970552"/>
              <a:gd name="connsiteY2" fmla="*/ 3569585 h 4540137"/>
              <a:gd name="connsiteX3" fmla="*/ 0 w 970552"/>
              <a:gd name="connsiteY3" fmla="*/ 4540137 h 4540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0552" h="4540137">
                <a:moveTo>
                  <a:pt x="1" y="970551"/>
                </a:moveTo>
                <a:lnTo>
                  <a:pt x="970552" y="0"/>
                </a:lnTo>
                <a:lnTo>
                  <a:pt x="970552" y="3569585"/>
                </a:lnTo>
                <a:lnTo>
                  <a:pt x="0" y="4540137"/>
                </a:lnTo>
                <a:close/>
              </a:path>
            </a:pathLst>
          </a:custGeom>
          <a:gradFill>
            <a:gsLst>
              <a:gs pos="24000">
                <a:schemeClr val="accent3">
                  <a:alpha val="40000"/>
                </a:schemeClr>
              </a:gs>
              <a:gs pos="87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046FCD12-70AD-43E4-97A5-E350476D993C}"/>
              </a:ext>
            </a:extLst>
          </p:cNvPr>
          <p:cNvSpPr/>
          <p:nvPr userDrawn="1"/>
        </p:nvSpPr>
        <p:spPr>
          <a:xfrm rot="10800000">
            <a:off x="-1" y="-1"/>
            <a:ext cx="10873127" cy="6868836"/>
          </a:xfrm>
          <a:custGeom>
            <a:avLst/>
            <a:gdLst>
              <a:gd name="connsiteX0" fmla="*/ 10873127 w 10873127"/>
              <a:gd name="connsiteY0" fmla="*/ 6868836 h 6868836"/>
              <a:gd name="connsiteX1" fmla="*/ 0 w 10873127"/>
              <a:gd name="connsiteY1" fmla="*/ 6868836 h 6868836"/>
              <a:gd name="connsiteX2" fmla="*/ 6863947 w 10873127"/>
              <a:gd name="connsiteY2" fmla="*/ 0 h 6868836"/>
              <a:gd name="connsiteX3" fmla="*/ 10873127 w 10873127"/>
              <a:gd name="connsiteY3" fmla="*/ 0 h 6868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873127" h="6868836">
                <a:moveTo>
                  <a:pt x="10873127" y="6868836"/>
                </a:moveTo>
                <a:lnTo>
                  <a:pt x="0" y="6868836"/>
                </a:lnTo>
                <a:lnTo>
                  <a:pt x="6863947" y="0"/>
                </a:lnTo>
                <a:lnTo>
                  <a:pt x="10873127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EAC21F4-620C-4207-A01D-C082619C707B}"/>
              </a:ext>
            </a:extLst>
          </p:cNvPr>
          <p:cNvSpPr txBox="1"/>
          <p:nvPr userDrawn="1"/>
        </p:nvSpPr>
        <p:spPr bwMode="white"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solidFill>
                <a:schemeClr val="tx1"/>
              </a:solidFill>
              <a:latin typeface="+mj-lt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AC6091C-E947-4C0C-85B0-C87C084ACB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9108" y="938794"/>
            <a:ext cx="6427626" cy="1229360"/>
          </a:xfrm>
        </p:spPr>
        <p:txBody>
          <a:bodyPr wrap="square" anchor="b"/>
          <a:lstStyle>
            <a:lvl1pPr algn="l">
              <a:defRPr sz="3600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A2044BBD-0109-43FF-A52D-8FA2841A4DF6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02966" y="2267712"/>
            <a:ext cx="6408402" cy="70088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text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D0EECB4-F8FF-42F6-B913-97C4F2956537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A2743E06-9EDE-42AB-954B-24AD2E0EDE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F727B63B-9DDF-4464-B305-91E2F1F53A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BE99358C-EF1D-4887-8E23-C6B6EFECC05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AB115210-A643-4048-8CE2-AE858AA6D28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DADAB024-3024-4445-96A4-008D5EBBB3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8C49FA45-007B-4A99-BFB8-737C3A292BE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6" name="Freeform 12">
              <a:extLst>
                <a:ext uri="{FF2B5EF4-FFF2-40B4-BE49-F238E27FC236}">
                  <a16:creationId xmlns:a16="http://schemas.microsoft.com/office/drawing/2014/main" id="{6AD6968C-6030-4061-9BA9-3E345BE073B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9267F80E-E3AF-43A3-AA96-C701371ACCD5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</p:spTree>
    <p:extLst>
      <p:ext uri="{BB962C8B-B14F-4D97-AF65-F5344CB8AC3E}">
        <p14:creationId xmlns:p14="http://schemas.microsoft.com/office/powerpoint/2010/main" val="1414302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Photo – Whi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77AF2AD3-F838-49C6-9DFB-93814BFCCBA6}"/>
              </a:ext>
            </a:extLst>
          </p:cNvPr>
          <p:cNvSpPr/>
          <p:nvPr userDrawn="1"/>
        </p:nvSpPr>
        <p:spPr>
          <a:xfrm>
            <a:off x="8943276" y="3622876"/>
            <a:ext cx="3251263" cy="3253579"/>
          </a:xfrm>
          <a:prstGeom prst="triangle">
            <a:avLst>
              <a:gd name="adj" fmla="val 10000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E385DDA8-6A1A-4BC0-A877-A6124E4A0330}"/>
              </a:ext>
            </a:extLst>
          </p:cNvPr>
          <p:cNvSpPr/>
          <p:nvPr userDrawn="1"/>
        </p:nvSpPr>
        <p:spPr>
          <a:xfrm rot="2700000">
            <a:off x="9037252" y="3334944"/>
            <a:ext cx="970552" cy="4540137"/>
          </a:xfrm>
          <a:custGeom>
            <a:avLst/>
            <a:gdLst>
              <a:gd name="connsiteX0" fmla="*/ 1 w 970552"/>
              <a:gd name="connsiteY0" fmla="*/ 970551 h 4540137"/>
              <a:gd name="connsiteX1" fmla="*/ 970552 w 970552"/>
              <a:gd name="connsiteY1" fmla="*/ 0 h 4540137"/>
              <a:gd name="connsiteX2" fmla="*/ 970552 w 970552"/>
              <a:gd name="connsiteY2" fmla="*/ 3569585 h 4540137"/>
              <a:gd name="connsiteX3" fmla="*/ 0 w 970552"/>
              <a:gd name="connsiteY3" fmla="*/ 4540137 h 4540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0552" h="4540137">
                <a:moveTo>
                  <a:pt x="1" y="970551"/>
                </a:moveTo>
                <a:lnTo>
                  <a:pt x="970552" y="0"/>
                </a:lnTo>
                <a:lnTo>
                  <a:pt x="970552" y="3569585"/>
                </a:lnTo>
                <a:lnTo>
                  <a:pt x="0" y="4540137"/>
                </a:lnTo>
                <a:close/>
              </a:path>
            </a:pathLst>
          </a:custGeom>
          <a:gradFill>
            <a:gsLst>
              <a:gs pos="24000">
                <a:schemeClr val="bg1">
                  <a:alpha val="59000"/>
                </a:schemeClr>
              </a:gs>
              <a:gs pos="78000">
                <a:schemeClr val="bg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" name="Isosceles Triangle 1">
            <a:extLst>
              <a:ext uri="{FF2B5EF4-FFF2-40B4-BE49-F238E27FC236}">
                <a16:creationId xmlns:a16="http://schemas.microsoft.com/office/drawing/2014/main" id="{B4BC3A27-8DAD-4476-9725-CF11880123D8}"/>
              </a:ext>
            </a:extLst>
          </p:cNvPr>
          <p:cNvSpPr/>
          <p:nvPr userDrawn="1"/>
        </p:nvSpPr>
        <p:spPr>
          <a:xfrm>
            <a:off x="8935656" y="3622876"/>
            <a:ext cx="3251263" cy="3253579"/>
          </a:xfrm>
          <a:prstGeom prst="triangle">
            <a:avLst>
              <a:gd name="adj" fmla="val 10000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046FCD12-70AD-43E4-97A5-E350476D993C}"/>
              </a:ext>
            </a:extLst>
          </p:cNvPr>
          <p:cNvSpPr/>
          <p:nvPr userDrawn="1"/>
        </p:nvSpPr>
        <p:spPr>
          <a:xfrm rot="10800000">
            <a:off x="-1" y="-1"/>
            <a:ext cx="10873127" cy="6868836"/>
          </a:xfrm>
          <a:custGeom>
            <a:avLst/>
            <a:gdLst>
              <a:gd name="connsiteX0" fmla="*/ 10873127 w 10873127"/>
              <a:gd name="connsiteY0" fmla="*/ 6868836 h 6868836"/>
              <a:gd name="connsiteX1" fmla="*/ 0 w 10873127"/>
              <a:gd name="connsiteY1" fmla="*/ 6868836 h 6868836"/>
              <a:gd name="connsiteX2" fmla="*/ 6863947 w 10873127"/>
              <a:gd name="connsiteY2" fmla="*/ 0 h 6868836"/>
              <a:gd name="connsiteX3" fmla="*/ 10873127 w 10873127"/>
              <a:gd name="connsiteY3" fmla="*/ 0 h 6868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873127" h="6868836">
                <a:moveTo>
                  <a:pt x="10873127" y="6868836"/>
                </a:moveTo>
                <a:lnTo>
                  <a:pt x="0" y="6868836"/>
                </a:lnTo>
                <a:lnTo>
                  <a:pt x="6863947" y="0"/>
                </a:lnTo>
                <a:lnTo>
                  <a:pt x="10873127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EAC21F4-620C-4207-A01D-C082619C707B}"/>
              </a:ext>
            </a:extLst>
          </p:cNvPr>
          <p:cNvSpPr txBox="1"/>
          <p:nvPr userDrawn="1"/>
        </p:nvSpPr>
        <p:spPr bwMode="white"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solidFill>
                <a:schemeClr val="tx1"/>
              </a:solidFill>
              <a:latin typeface="+mj-lt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AC6091C-E947-4C0C-85B0-C87C084ACB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9108" y="938794"/>
            <a:ext cx="6427626" cy="1229360"/>
          </a:xfrm>
        </p:spPr>
        <p:txBody>
          <a:bodyPr wrap="square" anchor="b"/>
          <a:lstStyle>
            <a:lvl1pPr algn="l">
              <a:defRPr sz="3600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A2044BBD-0109-43FF-A52D-8FA2841A4DF6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02966" y="2267712"/>
            <a:ext cx="6408402" cy="70088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text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D0EECB4-F8FF-42F6-B913-97C4F2956537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A2743E06-9EDE-42AB-954B-24AD2E0EDE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F727B63B-9DDF-4464-B305-91E2F1F53A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BE99358C-EF1D-4887-8E23-C6B6EFECC05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AB115210-A643-4048-8CE2-AE858AA6D28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DADAB024-3024-4445-96A4-008D5EBBB3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8C49FA45-007B-4A99-BFB8-737C3A292BE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6" name="Freeform 12">
              <a:extLst>
                <a:ext uri="{FF2B5EF4-FFF2-40B4-BE49-F238E27FC236}">
                  <a16:creationId xmlns:a16="http://schemas.microsoft.com/office/drawing/2014/main" id="{6AD6968C-6030-4061-9BA9-3E345BE073B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9267F80E-E3AF-43A3-AA96-C701371ACCD5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</p:spTree>
    <p:extLst>
      <p:ext uri="{BB962C8B-B14F-4D97-AF65-F5344CB8AC3E}">
        <p14:creationId xmlns:p14="http://schemas.microsoft.com/office/powerpoint/2010/main" val="3270690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89834265-B4D7-4504-9C1C-C962DD96E4D9}"/>
              </a:ext>
            </a:extLst>
          </p:cNvPr>
          <p:cNvSpPr/>
          <p:nvPr userDrawn="1"/>
        </p:nvSpPr>
        <p:spPr>
          <a:xfrm rot="2700000">
            <a:off x="1156507" y="-4493128"/>
            <a:ext cx="7499811" cy="13467847"/>
          </a:xfrm>
          <a:custGeom>
            <a:avLst/>
            <a:gdLst>
              <a:gd name="connsiteX0" fmla="*/ 0 w 7499811"/>
              <a:gd name="connsiteY0" fmla="*/ 7314868 h 13467847"/>
              <a:gd name="connsiteX1" fmla="*/ 7314868 w 7499811"/>
              <a:gd name="connsiteY1" fmla="*/ 0 h 13467847"/>
              <a:gd name="connsiteX2" fmla="*/ 7499811 w 7499811"/>
              <a:gd name="connsiteY2" fmla="*/ 184942 h 13467847"/>
              <a:gd name="connsiteX3" fmla="*/ 7499811 w 7499811"/>
              <a:gd name="connsiteY3" fmla="*/ 9513150 h 13467847"/>
              <a:gd name="connsiteX4" fmla="*/ 3545114 w 7499811"/>
              <a:gd name="connsiteY4" fmla="*/ 13467847 h 13467847"/>
              <a:gd name="connsiteX5" fmla="*/ 0 w 7499811"/>
              <a:gd name="connsiteY5" fmla="*/ 9922733 h 13467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9811" h="13467847">
                <a:moveTo>
                  <a:pt x="0" y="7314868"/>
                </a:moveTo>
                <a:lnTo>
                  <a:pt x="7314868" y="0"/>
                </a:lnTo>
                <a:lnTo>
                  <a:pt x="7499811" y="184942"/>
                </a:lnTo>
                <a:lnTo>
                  <a:pt x="7499811" y="9513150"/>
                </a:lnTo>
                <a:lnTo>
                  <a:pt x="3545114" y="13467847"/>
                </a:lnTo>
                <a:lnTo>
                  <a:pt x="0" y="9922733"/>
                </a:lnTo>
                <a:close/>
              </a:path>
            </a:pathLst>
          </a:custGeom>
          <a:gradFill>
            <a:gsLst>
              <a:gs pos="24000">
                <a:schemeClr val="accent4"/>
              </a:gs>
              <a:gs pos="87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12F29CAF-76E7-4387-BEA8-66F482EB65A2}"/>
              </a:ext>
            </a:extLst>
          </p:cNvPr>
          <p:cNvSpPr/>
          <p:nvPr userDrawn="1"/>
        </p:nvSpPr>
        <p:spPr>
          <a:xfrm rot="2700000">
            <a:off x="7032715" y="-169135"/>
            <a:ext cx="1042026" cy="8663939"/>
          </a:xfrm>
          <a:custGeom>
            <a:avLst/>
            <a:gdLst>
              <a:gd name="connsiteX0" fmla="*/ 0 w 1042026"/>
              <a:gd name="connsiteY0" fmla="*/ 0 h 8663939"/>
              <a:gd name="connsiteX1" fmla="*/ 1042026 w 1042026"/>
              <a:gd name="connsiteY1" fmla="*/ 0 h 8663939"/>
              <a:gd name="connsiteX2" fmla="*/ 1042026 w 1042026"/>
              <a:gd name="connsiteY2" fmla="*/ 7621913 h 8663939"/>
              <a:gd name="connsiteX3" fmla="*/ 0 w 1042026"/>
              <a:gd name="connsiteY3" fmla="*/ 8663939 h 86639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2026" h="8663939">
                <a:moveTo>
                  <a:pt x="0" y="0"/>
                </a:moveTo>
                <a:lnTo>
                  <a:pt x="1042026" y="0"/>
                </a:lnTo>
                <a:lnTo>
                  <a:pt x="1042026" y="7621913"/>
                </a:lnTo>
                <a:lnTo>
                  <a:pt x="0" y="8663939"/>
                </a:lnTo>
                <a:close/>
              </a:path>
            </a:pathLst>
          </a:custGeom>
          <a:gradFill>
            <a:gsLst>
              <a:gs pos="94000">
                <a:schemeClr val="bg1"/>
              </a:gs>
              <a:gs pos="26000">
                <a:schemeClr val="accent4"/>
              </a:gs>
              <a:gs pos="76000">
                <a:schemeClr val="bg1">
                  <a:alpha val="91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48347C3-DAFD-4322-8B75-FAADCB97A100}"/>
              </a:ext>
            </a:extLst>
          </p:cNvPr>
          <p:cNvSpPr txBox="1"/>
          <p:nvPr userDrawn="1"/>
        </p:nvSpPr>
        <p:spPr bwMode="white"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A840448-0A4C-4F83-A1CE-7B630AF6D91D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33BBD7F2-6BDB-40F5-BE43-2E5C642F40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1898F8B4-B178-4326-B6D0-C409F52A5D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04FAC758-8579-4948-8E17-F881282AF52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9BC37D6E-0610-40BC-A869-ED4C24F40DA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id="{0AD2EDE2-8C04-4779-942A-CD00356199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id="{B9B95322-EB86-42B6-BCDB-3C38F71CED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32" name="Freeform 12">
              <a:extLst>
                <a:ext uri="{FF2B5EF4-FFF2-40B4-BE49-F238E27FC236}">
                  <a16:creationId xmlns:a16="http://schemas.microsoft.com/office/drawing/2014/main" id="{20532F85-7A34-4927-9486-A847F29CF7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10DCB4EB-8A9B-485D-A968-34B397B482C3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fidential   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©2019 VMware, Inc.</a:t>
            </a:r>
          </a:p>
        </p:txBody>
      </p:sp>
      <p:sp>
        <p:nvSpPr>
          <p:cNvPr id="41" name="Picture Placeholder 184">
            <a:extLst>
              <a:ext uri="{FF2B5EF4-FFF2-40B4-BE49-F238E27FC236}">
                <a16:creationId xmlns:a16="http://schemas.microsoft.com/office/drawing/2014/main" id="{997DC603-F304-4357-BF7F-19215EB70C5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523151" y="4619335"/>
            <a:ext cx="2740025" cy="1371600"/>
          </a:xfrm>
          <a:noFill/>
        </p:spPr>
        <p:txBody>
          <a:bodyPr anchor="ctr"/>
          <a:lstStyle>
            <a:lvl1pPr algn="ctr">
              <a:defRPr sz="2400" b="1">
                <a:solidFill>
                  <a:srgbClr val="F8981D"/>
                </a:solidFill>
              </a:defRPr>
            </a:lvl1pPr>
          </a:lstStyle>
          <a:p>
            <a:r>
              <a:rPr lang="en-US"/>
              <a:t>Click to insert logo or delete box if not needed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6C21BA7-C6D2-446E-8FD2-266107E90C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8912" y="1600200"/>
            <a:ext cx="5413248" cy="3200400"/>
          </a:xfrm>
        </p:spPr>
        <p:txBody>
          <a:bodyPr anchor="b"/>
          <a:lstStyle>
            <a:lvl1pPr marL="169863" indent="-169863">
              <a:buClrTx/>
              <a:buSzPct val="100000"/>
              <a:buFont typeface="Metropolis" panose="00000500000000000000" pitchFamily="2" charset="0"/>
              <a:buChar char="“"/>
              <a:defRPr sz="2800">
                <a:solidFill>
                  <a:schemeClr val="bg1"/>
                </a:solidFill>
              </a:defRPr>
            </a:lvl1pPr>
            <a:lvl2pPr marL="457200" indent="-184150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2pPr>
            <a:lvl3pPr marL="744538" indent="-16986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3pPr>
            <a:lvl4pPr marL="969963" indent="-166688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4pPr>
            <a:lvl5pPr marL="1143000" indent="-13811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762CBDD-60C2-443D-88B5-C596896049D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648" y="5065776"/>
            <a:ext cx="4581144" cy="274320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 Name</a:t>
            </a:r>
          </a:p>
        </p:txBody>
      </p:sp>
    </p:spTree>
    <p:extLst>
      <p:ext uri="{BB962C8B-B14F-4D97-AF65-F5344CB8AC3E}">
        <p14:creationId xmlns:p14="http://schemas.microsoft.com/office/powerpoint/2010/main" val="605794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– Plu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89834265-B4D7-4504-9C1C-C962DD96E4D9}"/>
              </a:ext>
            </a:extLst>
          </p:cNvPr>
          <p:cNvSpPr/>
          <p:nvPr userDrawn="1"/>
        </p:nvSpPr>
        <p:spPr>
          <a:xfrm rot="2700000">
            <a:off x="1156507" y="-4493128"/>
            <a:ext cx="7499811" cy="13467847"/>
          </a:xfrm>
          <a:custGeom>
            <a:avLst/>
            <a:gdLst>
              <a:gd name="connsiteX0" fmla="*/ 0 w 7499811"/>
              <a:gd name="connsiteY0" fmla="*/ 7314868 h 13467847"/>
              <a:gd name="connsiteX1" fmla="*/ 7314868 w 7499811"/>
              <a:gd name="connsiteY1" fmla="*/ 0 h 13467847"/>
              <a:gd name="connsiteX2" fmla="*/ 7499811 w 7499811"/>
              <a:gd name="connsiteY2" fmla="*/ 184942 h 13467847"/>
              <a:gd name="connsiteX3" fmla="*/ 7499811 w 7499811"/>
              <a:gd name="connsiteY3" fmla="*/ 9513150 h 13467847"/>
              <a:gd name="connsiteX4" fmla="*/ 3545114 w 7499811"/>
              <a:gd name="connsiteY4" fmla="*/ 13467847 h 13467847"/>
              <a:gd name="connsiteX5" fmla="*/ 0 w 7499811"/>
              <a:gd name="connsiteY5" fmla="*/ 9922733 h 13467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9811" h="13467847">
                <a:moveTo>
                  <a:pt x="0" y="7314868"/>
                </a:moveTo>
                <a:lnTo>
                  <a:pt x="7314868" y="0"/>
                </a:lnTo>
                <a:lnTo>
                  <a:pt x="7499811" y="184942"/>
                </a:lnTo>
                <a:lnTo>
                  <a:pt x="7499811" y="9513150"/>
                </a:lnTo>
                <a:lnTo>
                  <a:pt x="3545114" y="13467847"/>
                </a:lnTo>
                <a:lnTo>
                  <a:pt x="0" y="9922733"/>
                </a:lnTo>
                <a:close/>
              </a:path>
            </a:pathLst>
          </a:custGeom>
          <a:gradFill>
            <a:gsLst>
              <a:gs pos="24000">
                <a:srgbClr val="7F35AB"/>
              </a:gs>
              <a:gs pos="87000">
                <a:srgbClr val="264088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12F29CAF-76E7-4387-BEA8-66F482EB65A2}"/>
              </a:ext>
            </a:extLst>
          </p:cNvPr>
          <p:cNvSpPr/>
          <p:nvPr userDrawn="1"/>
        </p:nvSpPr>
        <p:spPr>
          <a:xfrm rot="2700000">
            <a:off x="7032715" y="-169135"/>
            <a:ext cx="1042026" cy="8663939"/>
          </a:xfrm>
          <a:custGeom>
            <a:avLst/>
            <a:gdLst>
              <a:gd name="connsiteX0" fmla="*/ 0 w 1042026"/>
              <a:gd name="connsiteY0" fmla="*/ 0 h 8663939"/>
              <a:gd name="connsiteX1" fmla="*/ 1042026 w 1042026"/>
              <a:gd name="connsiteY1" fmla="*/ 0 h 8663939"/>
              <a:gd name="connsiteX2" fmla="*/ 1042026 w 1042026"/>
              <a:gd name="connsiteY2" fmla="*/ 7621913 h 8663939"/>
              <a:gd name="connsiteX3" fmla="*/ 0 w 1042026"/>
              <a:gd name="connsiteY3" fmla="*/ 8663939 h 86639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2026" h="8663939">
                <a:moveTo>
                  <a:pt x="0" y="0"/>
                </a:moveTo>
                <a:lnTo>
                  <a:pt x="1042026" y="0"/>
                </a:lnTo>
                <a:lnTo>
                  <a:pt x="1042026" y="7621913"/>
                </a:lnTo>
                <a:lnTo>
                  <a:pt x="0" y="8663939"/>
                </a:lnTo>
                <a:close/>
              </a:path>
            </a:pathLst>
          </a:custGeom>
          <a:gradFill>
            <a:gsLst>
              <a:gs pos="22000">
                <a:srgbClr val="7F35AB">
                  <a:alpha val="94000"/>
                </a:srgbClr>
              </a:gs>
              <a:gs pos="95000">
                <a:schemeClr val="bg1"/>
              </a:gs>
              <a:gs pos="77000">
                <a:schemeClr val="bg1">
                  <a:alpha val="79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48347C3-DAFD-4322-8B75-FAADCB97A100}"/>
              </a:ext>
            </a:extLst>
          </p:cNvPr>
          <p:cNvSpPr txBox="1"/>
          <p:nvPr userDrawn="1"/>
        </p:nvSpPr>
        <p:spPr bwMode="white"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A840448-0A4C-4F83-A1CE-7B630AF6D91D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33BBD7F2-6BDB-40F5-BE43-2E5C642F40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1898F8B4-B178-4326-B6D0-C409F52A5D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04FAC758-8579-4948-8E17-F881282AF52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9BC37D6E-0610-40BC-A869-ED4C24F40DA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id="{0AD2EDE2-8C04-4779-942A-CD00356199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id="{B9B95322-EB86-42B6-BCDB-3C38F71CED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32" name="Freeform 12">
              <a:extLst>
                <a:ext uri="{FF2B5EF4-FFF2-40B4-BE49-F238E27FC236}">
                  <a16:creationId xmlns:a16="http://schemas.microsoft.com/office/drawing/2014/main" id="{20532F85-7A34-4927-9486-A847F29CF7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10DCB4EB-8A9B-485D-A968-34B397B482C3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fidential   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©2019 VMware, Inc.</a:t>
            </a:r>
          </a:p>
        </p:txBody>
      </p:sp>
      <p:sp>
        <p:nvSpPr>
          <p:cNvPr id="41" name="Picture Placeholder 184">
            <a:extLst>
              <a:ext uri="{FF2B5EF4-FFF2-40B4-BE49-F238E27FC236}">
                <a16:creationId xmlns:a16="http://schemas.microsoft.com/office/drawing/2014/main" id="{997DC603-F304-4357-BF7F-19215EB70C5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523151" y="4619335"/>
            <a:ext cx="2740025" cy="1371600"/>
          </a:xfrm>
          <a:noFill/>
        </p:spPr>
        <p:txBody>
          <a:bodyPr anchor="ctr"/>
          <a:lstStyle>
            <a:lvl1pPr algn="ctr">
              <a:defRPr sz="2400" b="1">
                <a:solidFill>
                  <a:srgbClr val="F8981D"/>
                </a:solidFill>
              </a:defRPr>
            </a:lvl1pPr>
          </a:lstStyle>
          <a:p>
            <a:r>
              <a:rPr lang="en-US"/>
              <a:t>Click to insert logo or delete box if not needed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6C21BA7-C6D2-446E-8FD2-266107E90C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8912" y="1600200"/>
            <a:ext cx="5413248" cy="3200400"/>
          </a:xfrm>
        </p:spPr>
        <p:txBody>
          <a:bodyPr anchor="b"/>
          <a:lstStyle>
            <a:lvl1pPr marL="169863" indent="-169863">
              <a:buClrTx/>
              <a:buSzPct val="100000"/>
              <a:buFont typeface="Metropolis" panose="00000500000000000000" pitchFamily="2" charset="0"/>
              <a:buChar char="“"/>
              <a:defRPr sz="2800">
                <a:solidFill>
                  <a:schemeClr val="bg1"/>
                </a:solidFill>
              </a:defRPr>
            </a:lvl1pPr>
            <a:lvl2pPr marL="457200" indent="-184150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2pPr>
            <a:lvl3pPr marL="744538" indent="-16986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3pPr>
            <a:lvl4pPr marL="969963" indent="-166688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4pPr>
            <a:lvl5pPr marL="1143000" indent="-13811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762CBDD-60C2-443D-88B5-C596896049D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648" y="5065776"/>
            <a:ext cx="4581144" cy="274320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 Name</a:t>
            </a:r>
          </a:p>
        </p:txBody>
      </p:sp>
    </p:spTree>
    <p:extLst>
      <p:ext uri="{BB962C8B-B14F-4D97-AF65-F5344CB8AC3E}">
        <p14:creationId xmlns:p14="http://schemas.microsoft.com/office/powerpoint/2010/main" val="1826234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–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89834265-B4D7-4504-9C1C-C962DD96E4D9}"/>
              </a:ext>
            </a:extLst>
          </p:cNvPr>
          <p:cNvSpPr/>
          <p:nvPr userDrawn="1"/>
        </p:nvSpPr>
        <p:spPr>
          <a:xfrm rot="2700000">
            <a:off x="1156507" y="-4493128"/>
            <a:ext cx="7499811" cy="13467847"/>
          </a:xfrm>
          <a:custGeom>
            <a:avLst/>
            <a:gdLst>
              <a:gd name="connsiteX0" fmla="*/ 0 w 7499811"/>
              <a:gd name="connsiteY0" fmla="*/ 7314868 h 13467847"/>
              <a:gd name="connsiteX1" fmla="*/ 7314868 w 7499811"/>
              <a:gd name="connsiteY1" fmla="*/ 0 h 13467847"/>
              <a:gd name="connsiteX2" fmla="*/ 7499811 w 7499811"/>
              <a:gd name="connsiteY2" fmla="*/ 184942 h 13467847"/>
              <a:gd name="connsiteX3" fmla="*/ 7499811 w 7499811"/>
              <a:gd name="connsiteY3" fmla="*/ 9513150 h 13467847"/>
              <a:gd name="connsiteX4" fmla="*/ 3545114 w 7499811"/>
              <a:gd name="connsiteY4" fmla="*/ 13467847 h 13467847"/>
              <a:gd name="connsiteX5" fmla="*/ 0 w 7499811"/>
              <a:gd name="connsiteY5" fmla="*/ 9922733 h 13467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9811" h="13467847">
                <a:moveTo>
                  <a:pt x="0" y="7314868"/>
                </a:moveTo>
                <a:lnTo>
                  <a:pt x="7314868" y="0"/>
                </a:lnTo>
                <a:lnTo>
                  <a:pt x="7499811" y="184942"/>
                </a:lnTo>
                <a:lnTo>
                  <a:pt x="7499811" y="9513150"/>
                </a:lnTo>
                <a:lnTo>
                  <a:pt x="3545114" y="13467847"/>
                </a:lnTo>
                <a:lnTo>
                  <a:pt x="0" y="9922733"/>
                </a:lnTo>
                <a:close/>
              </a:path>
            </a:pathLst>
          </a:custGeom>
          <a:gradFill>
            <a:gsLst>
              <a:gs pos="24000">
                <a:schemeClr val="accent3"/>
              </a:gs>
              <a:gs pos="87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12F29CAF-76E7-4387-BEA8-66F482EB65A2}"/>
              </a:ext>
            </a:extLst>
          </p:cNvPr>
          <p:cNvSpPr/>
          <p:nvPr userDrawn="1"/>
        </p:nvSpPr>
        <p:spPr>
          <a:xfrm rot="2700000">
            <a:off x="7032715" y="-169135"/>
            <a:ext cx="1042026" cy="8663939"/>
          </a:xfrm>
          <a:custGeom>
            <a:avLst/>
            <a:gdLst>
              <a:gd name="connsiteX0" fmla="*/ 0 w 1042026"/>
              <a:gd name="connsiteY0" fmla="*/ 0 h 8663939"/>
              <a:gd name="connsiteX1" fmla="*/ 1042026 w 1042026"/>
              <a:gd name="connsiteY1" fmla="*/ 0 h 8663939"/>
              <a:gd name="connsiteX2" fmla="*/ 1042026 w 1042026"/>
              <a:gd name="connsiteY2" fmla="*/ 7621913 h 8663939"/>
              <a:gd name="connsiteX3" fmla="*/ 0 w 1042026"/>
              <a:gd name="connsiteY3" fmla="*/ 8663939 h 86639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2026" h="8663939">
                <a:moveTo>
                  <a:pt x="0" y="0"/>
                </a:moveTo>
                <a:lnTo>
                  <a:pt x="1042026" y="0"/>
                </a:lnTo>
                <a:lnTo>
                  <a:pt x="1042026" y="7621913"/>
                </a:lnTo>
                <a:lnTo>
                  <a:pt x="0" y="8663939"/>
                </a:lnTo>
                <a:close/>
              </a:path>
            </a:pathLst>
          </a:custGeom>
          <a:gradFill>
            <a:gsLst>
              <a:gs pos="24000">
                <a:schemeClr val="accent3"/>
              </a:gs>
              <a:gs pos="80511">
                <a:schemeClr val="bg1">
                  <a:alpha val="76000"/>
                </a:schemeClr>
              </a:gs>
              <a:gs pos="100000">
                <a:schemeClr val="bg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48347C3-DAFD-4322-8B75-FAADCB97A100}"/>
              </a:ext>
            </a:extLst>
          </p:cNvPr>
          <p:cNvSpPr txBox="1"/>
          <p:nvPr userDrawn="1"/>
        </p:nvSpPr>
        <p:spPr bwMode="white"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A840448-0A4C-4F83-A1CE-7B630AF6D91D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33BBD7F2-6BDB-40F5-BE43-2E5C642F40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1898F8B4-B178-4326-B6D0-C409F52A5D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04FAC758-8579-4948-8E17-F881282AF52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9BC37D6E-0610-40BC-A869-ED4C24F40DA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id="{0AD2EDE2-8C04-4779-942A-CD00356199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id="{B9B95322-EB86-42B6-BCDB-3C38F71CED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32" name="Freeform 12">
              <a:extLst>
                <a:ext uri="{FF2B5EF4-FFF2-40B4-BE49-F238E27FC236}">
                  <a16:creationId xmlns:a16="http://schemas.microsoft.com/office/drawing/2014/main" id="{20532F85-7A34-4927-9486-A847F29CF7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10DCB4EB-8A9B-485D-A968-34B397B482C3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fidential   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©2019 VMware, Inc.</a:t>
            </a:r>
          </a:p>
        </p:txBody>
      </p:sp>
      <p:sp>
        <p:nvSpPr>
          <p:cNvPr id="41" name="Picture Placeholder 184">
            <a:extLst>
              <a:ext uri="{FF2B5EF4-FFF2-40B4-BE49-F238E27FC236}">
                <a16:creationId xmlns:a16="http://schemas.microsoft.com/office/drawing/2014/main" id="{997DC603-F304-4357-BF7F-19215EB70C5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523151" y="4619335"/>
            <a:ext cx="2740025" cy="1371600"/>
          </a:xfrm>
          <a:noFill/>
        </p:spPr>
        <p:txBody>
          <a:bodyPr anchor="ctr"/>
          <a:lstStyle>
            <a:lvl1pPr algn="ctr">
              <a:defRPr sz="2400" b="1">
                <a:solidFill>
                  <a:srgbClr val="F8981D"/>
                </a:solidFill>
              </a:defRPr>
            </a:lvl1pPr>
          </a:lstStyle>
          <a:p>
            <a:r>
              <a:rPr lang="en-US"/>
              <a:t>Click to insert logo or delete box if not needed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6C21BA7-C6D2-446E-8FD2-266107E90C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8912" y="1600200"/>
            <a:ext cx="5413248" cy="3200400"/>
          </a:xfrm>
        </p:spPr>
        <p:txBody>
          <a:bodyPr anchor="b"/>
          <a:lstStyle>
            <a:lvl1pPr marL="169863" indent="-169863">
              <a:buClrTx/>
              <a:buSzPct val="100000"/>
              <a:buFont typeface="Metropolis" panose="00000500000000000000" pitchFamily="2" charset="0"/>
              <a:buChar char="“"/>
              <a:defRPr sz="2800">
                <a:solidFill>
                  <a:schemeClr val="bg1"/>
                </a:solidFill>
              </a:defRPr>
            </a:lvl1pPr>
            <a:lvl2pPr marL="457200" indent="-184150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2pPr>
            <a:lvl3pPr marL="744538" indent="-16986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3pPr>
            <a:lvl4pPr marL="969963" indent="-166688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4pPr>
            <a:lvl5pPr marL="1143000" indent="-13811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762CBDD-60C2-443D-88B5-C596896049D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648" y="5065776"/>
            <a:ext cx="4581144" cy="274320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 Name</a:t>
            </a:r>
          </a:p>
        </p:txBody>
      </p:sp>
    </p:spTree>
    <p:extLst>
      <p:ext uri="{BB962C8B-B14F-4D97-AF65-F5344CB8AC3E}">
        <p14:creationId xmlns:p14="http://schemas.microsoft.com/office/powerpoint/2010/main" val="249258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with Photo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6AB501C1-9DF6-44B6-A147-29CFF5E96E50}"/>
              </a:ext>
            </a:extLst>
          </p:cNvPr>
          <p:cNvSpPr/>
          <p:nvPr userDrawn="1"/>
        </p:nvSpPr>
        <p:spPr>
          <a:xfrm rot="2700000">
            <a:off x="969033" y="-4049006"/>
            <a:ext cx="6293364" cy="12454818"/>
          </a:xfrm>
          <a:custGeom>
            <a:avLst/>
            <a:gdLst>
              <a:gd name="connsiteX0" fmla="*/ 0 w 6293364"/>
              <a:gd name="connsiteY0" fmla="*/ 6293364 h 12454818"/>
              <a:gd name="connsiteX1" fmla="*/ 6293364 w 6293364"/>
              <a:gd name="connsiteY1" fmla="*/ 0 h 12454818"/>
              <a:gd name="connsiteX2" fmla="*/ 6293364 w 6293364"/>
              <a:gd name="connsiteY2" fmla="*/ 9715045 h 12454818"/>
              <a:gd name="connsiteX3" fmla="*/ 3553591 w 6293364"/>
              <a:gd name="connsiteY3" fmla="*/ 12454818 h 12454818"/>
              <a:gd name="connsiteX4" fmla="*/ 0 w 6293364"/>
              <a:gd name="connsiteY4" fmla="*/ 8901227 h 12454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93364" h="12454818">
                <a:moveTo>
                  <a:pt x="0" y="6293364"/>
                </a:moveTo>
                <a:lnTo>
                  <a:pt x="6293364" y="0"/>
                </a:lnTo>
                <a:lnTo>
                  <a:pt x="6293364" y="9715045"/>
                </a:lnTo>
                <a:lnTo>
                  <a:pt x="3553591" y="12454818"/>
                </a:lnTo>
                <a:lnTo>
                  <a:pt x="0" y="8901227"/>
                </a:lnTo>
                <a:close/>
              </a:path>
            </a:pathLst>
          </a:custGeom>
          <a:gradFill>
            <a:gsLst>
              <a:gs pos="24000">
                <a:schemeClr val="accent4">
                  <a:alpha val="46000"/>
                </a:schemeClr>
              </a:gs>
              <a:gs pos="79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48347C3-DAFD-4322-8B75-FAADCB97A100}"/>
              </a:ext>
            </a:extLst>
          </p:cNvPr>
          <p:cNvSpPr txBox="1"/>
          <p:nvPr userDrawn="1"/>
        </p:nvSpPr>
        <p:spPr bwMode="white"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A840448-0A4C-4F83-A1CE-7B630AF6D91D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33BBD7F2-6BDB-40F5-BE43-2E5C642F40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1898F8B4-B178-4326-B6D0-C409F52A5D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04FAC758-8579-4948-8E17-F881282AF52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9BC37D6E-0610-40BC-A869-ED4C24F40DA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id="{0AD2EDE2-8C04-4779-942A-CD00356199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id="{B9B95322-EB86-42B6-BCDB-3C38F71CED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32" name="Freeform 12">
              <a:extLst>
                <a:ext uri="{FF2B5EF4-FFF2-40B4-BE49-F238E27FC236}">
                  <a16:creationId xmlns:a16="http://schemas.microsoft.com/office/drawing/2014/main" id="{20532F85-7A34-4927-9486-A847F29CF7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10DCB4EB-8A9B-485D-A968-34B397B482C3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fidential   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©2019 VMware, Inc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6C21BA7-C6D2-446E-8FD2-266107E90C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8912" y="1600200"/>
            <a:ext cx="5413248" cy="3200400"/>
          </a:xfrm>
        </p:spPr>
        <p:txBody>
          <a:bodyPr anchor="b"/>
          <a:lstStyle>
            <a:lvl1pPr marL="169863" indent="-169863">
              <a:buClrTx/>
              <a:buSzPct val="100000"/>
              <a:buFont typeface="Metropolis" panose="00000500000000000000" pitchFamily="2" charset="0"/>
              <a:buChar char="“"/>
              <a:defRPr sz="2800">
                <a:solidFill>
                  <a:schemeClr val="bg1"/>
                </a:solidFill>
              </a:defRPr>
            </a:lvl1pPr>
            <a:lvl2pPr marL="457200" indent="-184150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2pPr>
            <a:lvl3pPr marL="744538" indent="-16986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3pPr>
            <a:lvl4pPr marL="969963" indent="-166688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4pPr>
            <a:lvl5pPr marL="1143000" indent="-13811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762CBDD-60C2-443D-88B5-C596896049D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648" y="5065776"/>
            <a:ext cx="4581144" cy="274320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 Name</a:t>
            </a:r>
          </a:p>
        </p:txBody>
      </p:sp>
    </p:spTree>
    <p:extLst>
      <p:ext uri="{BB962C8B-B14F-4D97-AF65-F5344CB8AC3E}">
        <p14:creationId xmlns:p14="http://schemas.microsoft.com/office/powerpoint/2010/main" val="1675536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with Photo – Purp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6AB501C1-9DF6-44B6-A147-29CFF5E96E50}"/>
              </a:ext>
            </a:extLst>
          </p:cNvPr>
          <p:cNvSpPr/>
          <p:nvPr userDrawn="1"/>
        </p:nvSpPr>
        <p:spPr>
          <a:xfrm rot="2700000">
            <a:off x="969033" y="-4049006"/>
            <a:ext cx="6293364" cy="12454818"/>
          </a:xfrm>
          <a:custGeom>
            <a:avLst/>
            <a:gdLst>
              <a:gd name="connsiteX0" fmla="*/ 0 w 6293364"/>
              <a:gd name="connsiteY0" fmla="*/ 6293364 h 12454818"/>
              <a:gd name="connsiteX1" fmla="*/ 6293364 w 6293364"/>
              <a:gd name="connsiteY1" fmla="*/ 0 h 12454818"/>
              <a:gd name="connsiteX2" fmla="*/ 6293364 w 6293364"/>
              <a:gd name="connsiteY2" fmla="*/ 9715045 h 12454818"/>
              <a:gd name="connsiteX3" fmla="*/ 3553591 w 6293364"/>
              <a:gd name="connsiteY3" fmla="*/ 12454818 h 12454818"/>
              <a:gd name="connsiteX4" fmla="*/ 0 w 6293364"/>
              <a:gd name="connsiteY4" fmla="*/ 8901227 h 12454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93364" h="12454818">
                <a:moveTo>
                  <a:pt x="0" y="6293364"/>
                </a:moveTo>
                <a:lnTo>
                  <a:pt x="6293364" y="0"/>
                </a:lnTo>
                <a:lnTo>
                  <a:pt x="6293364" y="9715045"/>
                </a:lnTo>
                <a:lnTo>
                  <a:pt x="3553591" y="12454818"/>
                </a:lnTo>
                <a:lnTo>
                  <a:pt x="0" y="8901227"/>
                </a:lnTo>
                <a:close/>
              </a:path>
            </a:pathLst>
          </a:custGeom>
          <a:gradFill>
            <a:gsLst>
              <a:gs pos="0">
                <a:srgbClr val="7F35AB">
                  <a:alpha val="27000"/>
                </a:srgbClr>
              </a:gs>
              <a:gs pos="82000">
                <a:srgbClr val="264088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48347C3-DAFD-4322-8B75-FAADCB97A100}"/>
              </a:ext>
            </a:extLst>
          </p:cNvPr>
          <p:cNvSpPr txBox="1"/>
          <p:nvPr userDrawn="1"/>
        </p:nvSpPr>
        <p:spPr bwMode="white"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A840448-0A4C-4F83-A1CE-7B630AF6D91D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33BBD7F2-6BDB-40F5-BE43-2E5C642F40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1898F8B4-B178-4326-B6D0-C409F52A5D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04FAC758-8579-4948-8E17-F881282AF52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9BC37D6E-0610-40BC-A869-ED4C24F40DA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id="{0AD2EDE2-8C04-4779-942A-CD00356199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id="{B9B95322-EB86-42B6-BCDB-3C38F71CED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32" name="Freeform 12">
              <a:extLst>
                <a:ext uri="{FF2B5EF4-FFF2-40B4-BE49-F238E27FC236}">
                  <a16:creationId xmlns:a16="http://schemas.microsoft.com/office/drawing/2014/main" id="{20532F85-7A34-4927-9486-A847F29CF7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10DCB4EB-8A9B-485D-A968-34B397B482C3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fidential   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©2019 VMware, Inc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6C21BA7-C6D2-446E-8FD2-266107E90C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8912" y="1600200"/>
            <a:ext cx="5413248" cy="3200400"/>
          </a:xfrm>
        </p:spPr>
        <p:txBody>
          <a:bodyPr anchor="b"/>
          <a:lstStyle>
            <a:lvl1pPr marL="169863" indent="-169863">
              <a:buClrTx/>
              <a:buSzPct val="100000"/>
              <a:buFont typeface="Metropolis" panose="00000500000000000000" pitchFamily="2" charset="0"/>
              <a:buChar char="“"/>
              <a:defRPr sz="2800">
                <a:solidFill>
                  <a:schemeClr val="bg1"/>
                </a:solidFill>
              </a:defRPr>
            </a:lvl1pPr>
            <a:lvl2pPr marL="457200" indent="-184150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2pPr>
            <a:lvl3pPr marL="744538" indent="-16986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3pPr>
            <a:lvl4pPr marL="969963" indent="-166688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4pPr>
            <a:lvl5pPr marL="1143000" indent="-13811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762CBDD-60C2-443D-88B5-C596896049D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648" y="5065776"/>
            <a:ext cx="4581144" cy="274320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 Name</a:t>
            </a:r>
          </a:p>
        </p:txBody>
      </p:sp>
    </p:spTree>
    <p:extLst>
      <p:ext uri="{BB962C8B-B14F-4D97-AF65-F5344CB8AC3E}">
        <p14:creationId xmlns:p14="http://schemas.microsoft.com/office/powerpoint/2010/main" val="2282372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with Photo –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6AB501C1-9DF6-44B6-A147-29CFF5E96E50}"/>
              </a:ext>
            </a:extLst>
          </p:cNvPr>
          <p:cNvSpPr/>
          <p:nvPr userDrawn="1"/>
        </p:nvSpPr>
        <p:spPr>
          <a:xfrm rot="2700000">
            <a:off x="969033" y="-4049006"/>
            <a:ext cx="6293364" cy="12454818"/>
          </a:xfrm>
          <a:custGeom>
            <a:avLst/>
            <a:gdLst>
              <a:gd name="connsiteX0" fmla="*/ 0 w 6293364"/>
              <a:gd name="connsiteY0" fmla="*/ 6293364 h 12454818"/>
              <a:gd name="connsiteX1" fmla="*/ 6293364 w 6293364"/>
              <a:gd name="connsiteY1" fmla="*/ 0 h 12454818"/>
              <a:gd name="connsiteX2" fmla="*/ 6293364 w 6293364"/>
              <a:gd name="connsiteY2" fmla="*/ 9715045 h 12454818"/>
              <a:gd name="connsiteX3" fmla="*/ 3553591 w 6293364"/>
              <a:gd name="connsiteY3" fmla="*/ 12454818 h 12454818"/>
              <a:gd name="connsiteX4" fmla="*/ 0 w 6293364"/>
              <a:gd name="connsiteY4" fmla="*/ 8901227 h 12454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93364" h="12454818">
                <a:moveTo>
                  <a:pt x="0" y="6293364"/>
                </a:moveTo>
                <a:lnTo>
                  <a:pt x="6293364" y="0"/>
                </a:lnTo>
                <a:lnTo>
                  <a:pt x="6293364" y="9715045"/>
                </a:lnTo>
                <a:lnTo>
                  <a:pt x="3553591" y="12454818"/>
                </a:lnTo>
                <a:lnTo>
                  <a:pt x="0" y="8901227"/>
                </a:lnTo>
                <a:close/>
              </a:path>
            </a:pathLst>
          </a:custGeom>
          <a:gradFill>
            <a:gsLst>
              <a:gs pos="24000">
                <a:schemeClr val="accent3">
                  <a:alpha val="40000"/>
                </a:schemeClr>
              </a:gs>
              <a:gs pos="82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48347C3-DAFD-4322-8B75-FAADCB97A100}"/>
              </a:ext>
            </a:extLst>
          </p:cNvPr>
          <p:cNvSpPr txBox="1"/>
          <p:nvPr userDrawn="1"/>
        </p:nvSpPr>
        <p:spPr bwMode="white"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A840448-0A4C-4F83-A1CE-7B630AF6D91D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33BBD7F2-6BDB-40F5-BE43-2E5C642F40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1898F8B4-B178-4326-B6D0-C409F52A5D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04FAC758-8579-4948-8E17-F881282AF52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9BC37D6E-0610-40BC-A869-ED4C24F40DA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id="{0AD2EDE2-8C04-4779-942A-CD00356199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id="{B9B95322-EB86-42B6-BCDB-3C38F71CED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32" name="Freeform 12">
              <a:extLst>
                <a:ext uri="{FF2B5EF4-FFF2-40B4-BE49-F238E27FC236}">
                  <a16:creationId xmlns:a16="http://schemas.microsoft.com/office/drawing/2014/main" id="{20532F85-7A34-4927-9486-A847F29CF7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10DCB4EB-8A9B-485D-A968-34B397B482C3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fidential   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©2019 VMware, Inc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6C21BA7-C6D2-446E-8FD2-266107E90C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8912" y="1600200"/>
            <a:ext cx="5413248" cy="3200400"/>
          </a:xfrm>
        </p:spPr>
        <p:txBody>
          <a:bodyPr anchor="b"/>
          <a:lstStyle>
            <a:lvl1pPr marL="169863" indent="-169863">
              <a:buClrTx/>
              <a:buSzPct val="100000"/>
              <a:buFont typeface="Metropolis" panose="00000500000000000000" pitchFamily="2" charset="0"/>
              <a:buChar char="“"/>
              <a:defRPr sz="2800">
                <a:solidFill>
                  <a:schemeClr val="bg1"/>
                </a:solidFill>
              </a:defRPr>
            </a:lvl1pPr>
            <a:lvl2pPr marL="457200" indent="-184150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2pPr>
            <a:lvl3pPr marL="744538" indent="-16986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3pPr>
            <a:lvl4pPr marL="969963" indent="-166688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4pPr>
            <a:lvl5pPr marL="1143000" indent="-13811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762CBDD-60C2-443D-88B5-C596896049D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648" y="5065776"/>
            <a:ext cx="4581144" cy="274320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 Name</a:t>
            </a:r>
          </a:p>
        </p:txBody>
      </p:sp>
    </p:spTree>
    <p:extLst>
      <p:ext uri="{BB962C8B-B14F-4D97-AF65-F5344CB8AC3E}">
        <p14:creationId xmlns:p14="http://schemas.microsoft.com/office/powerpoint/2010/main" val="3577039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with Photo – Whi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6AB501C1-9DF6-44B6-A147-29CFF5E96E50}"/>
              </a:ext>
            </a:extLst>
          </p:cNvPr>
          <p:cNvSpPr/>
          <p:nvPr userDrawn="1"/>
        </p:nvSpPr>
        <p:spPr>
          <a:xfrm rot="2700000">
            <a:off x="969033" y="-4049006"/>
            <a:ext cx="6293364" cy="12454818"/>
          </a:xfrm>
          <a:custGeom>
            <a:avLst/>
            <a:gdLst>
              <a:gd name="connsiteX0" fmla="*/ 0 w 6293364"/>
              <a:gd name="connsiteY0" fmla="*/ 6293364 h 12454818"/>
              <a:gd name="connsiteX1" fmla="*/ 6293364 w 6293364"/>
              <a:gd name="connsiteY1" fmla="*/ 0 h 12454818"/>
              <a:gd name="connsiteX2" fmla="*/ 6293364 w 6293364"/>
              <a:gd name="connsiteY2" fmla="*/ 9715045 h 12454818"/>
              <a:gd name="connsiteX3" fmla="*/ 3553591 w 6293364"/>
              <a:gd name="connsiteY3" fmla="*/ 12454818 h 12454818"/>
              <a:gd name="connsiteX4" fmla="*/ 0 w 6293364"/>
              <a:gd name="connsiteY4" fmla="*/ 8901227 h 12454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93364" h="12454818">
                <a:moveTo>
                  <a:pt x="0" y="6293364"/>
                </a:moveTo>
                <a:lnTo>
                  <a:pt x="6293364" y="0"/>
                </a:lnTo>
                <a:lnTo>
                  <a:pt x="6293364" y="9715045"/>
                </a:lnTo>
                <a:lnTo>
                  <a:pt x="3553591" y="12454818"/>
                </a:lnTo>
                <a:lnTo>
                  <a:pt x="0" y="8901227"/>
                </a:lnTo>
                <a:close/>
              </a:path>
            </a:pathLst>
          </a:custGeom>
          <a:gradFill>
            <a:gsLst>
              <a:gs pos="18000">
                <a:schemeClr val="bg1">
                  <a:alpha val="25000"/>
                </a:schemeClr>
              </a:gs>
              <a:gs pos="46000">
                <a:srgbClr val="FFFFFF">
                  <a:alpha val="64000"/>
                </a:srgbClr>
              </a:gs>
              <a:gs pos="77000">
                <a:schemeClr val="bg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48347C3-DAFD-4322-8B75-FAADCB97A100}"/>
              </a:ext>
            </a:extLst>
          </p:cNvPr>
          <p:cNvSpPr txBox="1"/>
          <p:nvPr userDrawn="1"/>
        </p:nvSpPr>
        <p:spPr bwMode="white"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A840448-0A4C-4F83-A1CE-7B630AF6D91D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tx1"/>
          </a:solidFill>
        </p:grpSpPr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33BBD7F2-6BDB-40F5-BE43-2E5C642F40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1898F8B4-B178-4326-B6D0-C409F52A5D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04FAC758-8579-4948-8E17-F881282AF52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9BC37D6E-0610-40BC-A869-ED4C24F40DA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id="{0AD2EDE2-8C04-4779-942A-CD00356199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id="{B9B95322-EB86-42B6-BCDB-3C38F71CED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32" name="Freeform 12">
              <a:extLst>
                <a:ext uri="{FF2B5EF4-FFF2-40B4-BE49-F238E27FC236}">
                  <a16:creationId xmlns:a16="http://schemas.microsoft.com/office/drawing/2014/main" id="{20532F85-7A34-4927-9486-A847F29CF7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10DCB4EB-8A9B-485D-A968-34B397B482C3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©2019 VMware, Inc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6C21BA7-C6D2-446E-8FD2-266107E90C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8912" y="1600200"/>
            <a:ext cx="5413248" cy="3200400"/>
          </a:xfrm>
        </p:spPr>
        <p:txBody>
          <a:bodyPr anchor="b"/>
          <a:lstStyle>
            <a:lvl1pPr marL="169863" indent="-169863">
              <a:buClrTx/>
              <a:buSzPct val="100000"/>
              <a:buFont typeface="Metropolis" panose="00000500000000000000" pitchFamily="2" charset="0"/>
              <a:buChar char="“"/>
              <a:defRPr sz="2800">
                <a:solidFill>
                  <a:schemeClr val="tx2"/>
                </a:solidFill>
              </a:defRPr>
            </a:lvl1pPr>
            <a:lvl2pPr marL="457200" indent="-184150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2pPr>
            <a:lvl3pPr marL="744538" indent="-16986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3pPr>
            <a:lvl4pPr marL="969963" indent="-166688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4pPr>
            <a:lvl5pPr marL="1143000" indent="-13811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762CBDD-60C2-443D-88B5-C596896049D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648" y="5065776"/>
            <a:ext cx="4581144" cy="274320"/>
          </a:xfrm>
        </p:spPr>
        <p:txBody>
          <a:bodyPr/>
          <a:lstStyle>
            <a:lvl1pPr>
              <a:defRPr sz="18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ource Name</a:t>
            </a:r>
          </a:p>
        </p:txBody>
      </p:sp>
    </p:spTree>
    <p:extLst>
      <p:ext uri="{BB962C8B-B14F-4D97-AF65-F5344CB8AC3E}">
        <p14:creationId xmlns:p14="http://schemas.microsoft.com/office/powerpoint/2010/main" val="17898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D034FA3F-D529-4D8B-B6EC-A8341FCAF67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16505" y="1600201"/>
            <a:ext cx="10972800" cy="4572000"/>
          </a:xfrm>
        </p:spPr>
        <p:txBody>
          <a:bodyPr/>
          <a:lstStyle>
            <a:lvl1pPr>
              <a:spcBef>
                <a:spcPts val="1500"/>
              </a:spcBef>
              <a:defRPr/>
            </a:lvl1pPr>
            <a:lvl2pPr>
              <a:spcBef>
                <a:spcPts val="300"/>
              </a:spcBef>
              <a:defRPr/>
            </a:lvl2pPr>
            <a:lvl5pPr>
              <a:defRPr/>
            </a:lvl5pPr>
            <a:lvl6pPr>
              <a:defRPr/>
            </a:lvl6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27E3E8B-0F66-4996-9785-6E9531D89A5A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latin typeface="+mj-lt"/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216D2F66-BB7F-4F0E-A224-A105F87676EF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11830"/>
            <a:ext cx="1098794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924E83-0498-4D8B-94A0-3FF7CDD8F1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One Line Title</a:t>
            </a:r>
          </a:p>
        </p:txBody>
      </p:sp>
    </p:spTree>
    <p:extLst>
      <p:ext uri="{BB962C8B-B14F-4D97-AF65-F5344CB8AC3E}">
        <p14:creationId xmlns:p14="http://schemas.microsoft.com/office/powerpoint/2010/main" val="872234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– Plu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9108" y="938794"/>
            <a:ext cx="6427626" cy="1229360"/>
          </a:xfrm>
        </p:spPr>
        <p:txBody>
          <a:bodyPr wrap="square" anchor="b"/>
          <a:lstStyle>
            <a:lvl1pPr algn="l">
              <a:defRPr sz="3600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28" name="Subtitle 2">
            <a:extLst>
              <a:ext uri="{FF2B5EF4-FFF2-40B4-BE49-F238E27FC236}">
                <a16:creationId xmlns:a16="http://schemas.microsoft.com/office/drawing/2014/main" id="{6EBAFA4D-7B92-4E38-8320-94F3BCA2E41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02966" y="2267712"/>
            <a:ext cx="6408402" cy="70088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tex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E46B5F2-170B-43F3-865D-92F5CD3F3546}"/>
              </a:ext>
            </a:extLst>
          </p:cNvPr>
          <p:cNvSpPr txBox="1"/>
          <p:nvPr userDrawn="1"/>
        </p:nvSpPr>
        <p:spPr bwMode="white"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dirty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F062DFBC-6461-46E5-9A65-C2BA6B55FAA7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067657A-03A1-4F4F-AD0D-A5B15521E8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03F0FBFF-D44D-482A-B547-D551EA5D3C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9A9535C7-EA42-4FC0-BF2F-9F86B58ECC7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E775250D-8931-4334-BAE4-BDDB0695417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46FFD602-6135-4BEE-BB2A-C867FBE1FF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14A9D646-E9F0-4A52-BD9E-F04121BF45F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A919FBF8-B563-4387-B270-79EB182CF7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5B407C40-A805-4838-8B00-1B2AAC94FDCD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9428A741-FAD5-4234-862D-6AB7431CF1B6}"/>
              </a:ext>
            </a:extLst>
          </p:cNvPr>
          <p:cNvSpPr/>
          <p:nvPr userDrawn="1"/>
        </p:nvSpPr>
        <p:spPr>
          <a:xfrm rot="2700000">
            <a:off x="7247491" y="-1003602"/>
            <a:ext cx="3505682" cy="10673146"/>
          </a:xfrm>
          <a:custGeom>
            <a:avLst/>
            <a:gdLst>
              <a:gd name="connsiteX0" fmla="*/ 0 w 3505682"/>
              <a:gd name="connsiteY0" fmla="*/ 925479 h 10673146"/>
              <a:gd name="connsiteX1" fmla="*/ 925478 w 3505682"/>
              <a:gd name="connsiteY1" fmla="*/ 0 h 10673146"/>
              <a:gd name="connsiteX2" fmla="*/ 3505682 w 3505682"/>
              <a:gd name="connsiteY2" fmla="*/ 2580205 h 10673146"/>
              <a:gd name="connsiteX3" fmla="*/ 3505682 w 3505682"/>
              <a:gd name="connsiteY3" fmla="*/ 7167464 h 10673146"/>
              <a:gd name="connsiteX4" fmla="*/ 0 w 3505682"/>
              <a:gd name="connsiteY4" fmla="*/ 10673146 h 10673146"/>
              <a:gd name="connsiteX5" fmla="*/ 0 w 3505682"/>
              <a:gd name="connsiteY5" fmla="*/ 925479 h 10673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05682" h="10673146">
                <a:moveTo>
                  <a:pt x="0" y="925479"/>
                </a:moveTo>
                <a:lnTo>
                  <a:pt x="925478" y="0"/>
                </a:lnTo>
                <a:lnTo>
                  <a:pt x="3505682" y="2580205"/>
                </a:lnTo>
                <a:lnTo>
                  <a:pt x="3505682" y="7167464"/>
                </a:lnTo>
                <a:lnTo>
                  <a:pt x="0" y="10673146"/>
                </a:lnTo>
                <a:lnTo>
                  <a:pt x="0" y="925479"/>
                </a:lnTo>
                <a:close/>
              </a:path>
            </a:pathLst>
          </a:custGeom>
          <a:gradFill>
            <a:gsLst>
              <a:gs pos="24000">
                <a:srgbClr val="7F35AB"/>
              </a:gs>
              <a:gs pos="87000">
                <a:srgbClr val="264088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8D3A6683-B1EA-4507-96A9-030793602B44}"/>
              </a:ext>
            </a:extLst>
          </p:cNvPr>
          <p:cNvSpPr/>
          <p:nvPr userDrawn="1"/>
        </p:nvSpPr>
        <p:spPr>
          <a:xfrm rot="2700000">
            <a:off x="9753830" y="1674737"/>
            <a:ext cx="970552" cy="6485190"/>
          </a:xfrm>
          <a:custGeom>
            <a:avLst/>
            <a:gdLst>
              <a:gd name="connsiteX0" fmla="*/ 1 w 970552"/>
              <a:gd name="connsiteY0" fmla="*/ 0 h 6485190"/>
              <a:gd name="connsiteX1" fmla="*/ 970552 w 970552"/>
              <a:gd name="connsiteY1" fmla="*/ 970551 h 6485190"/>
              <a:gd name="connsiteX2" fmla="*/ 970552 w 970552"/>
              <a:gd name="connsiteY2" fmla="*/ 5514638 h 6485190"/>
              <a:gd name="connsiteX3" fmla="*/ 0 w 970552"/>
              <a:gd name="connsiteY3" fmla="*/ 6485190 h 64851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0552" h="6485190">
                <a:moveTo>
                  <a:pt x="1" y="0"/>
                </a:moveTo>
                <a:lnTo>
                  <a:pt x="970552" y="970551"/>
                </a:lnTo>
                <a:lnTo>
                  <a:pt x="970552" y="5514638"/>
                </a:lnTo>
                <a:lnTo>
                  <a:pt x="0" y="6485190"/>
                </a:lnTo>
                <a:close/>
              </a:path>
            </a:pathLst>
          </a:custGeom>
          <a:gradFill>
            <a:gsLst>
              <a:gs pos="20000">
                <a:srgbClr val="7F35AB"/>
              </a:gs>
              <a:gs pos="95000">
                <a:schemeClr val="bg1"/>
              </a:gs>
              <a:gs pos="74000">
                <a:schemeClr val="bg1">
                  <a:alpha val="79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4224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8950B906-C5A3-4658-B24C-B2B533310D26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latin typeface="+mj-lt"/>
            </a:endParaRP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C28211D2-9BBA-4EB9-8867-E2CC72E9E0D1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D90EF1-7A6F-4CAE-80CD-2BC8A8107F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One Line Title</a:t>
            </a:r>
          </a:p>
        </p:txBody>
      </p:sp>
    </p:spTree>
    <p:extLst>
      <p:ext uri="{BB962C8B-B14F-4D97-AF65-F5344CB8AC3E}">
        <p14:creationId xmlns:p14="http://schemas.microsoft.com/office/powerpoint/2010/main" val="3728081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Content Balanc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B6A9629E-98B5-43F5-8323-C894B734208A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00E4C6-16B5-49A9-898A-3B53C5AB06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One Line Tit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38535540-CB20-4CD5-9F73-DB64F5A49CD3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7AF420A-ED2C-4AD1-A28B-EB26178557D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-1" y="1600200"/>
            <a:ext cx="5893593" cy="4572000"/>
          </a:xfrm>
        </p:spPr>
        <p:txBody>
          <a:bodyPr lIns="594360"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400"/>
            </a:lvl7pPr>
            <a:lvl8pPr>
              <a:defRPr sz="1200"/>
            </a:lvl8pPr>
            <a:lvl9pPr>
              <a:defRPr sz="18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5"/>
            <a:endParaRPr lang="en-US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CD860A49-A98C-4F0E-AB34-4E13B89D5EBC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321287" y="1600200"/>
            <a:ext cx="5867538" cy="4572000"/>
          </a:xfrm>
        </p:spPr>
        <p:txBody>
          <a:bodyPr lIns="0" rIns="594360"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400"/>
            </a:lvl7pPr>
            <a:lvl8pPr>
              <a:defRPr sz="1200"/>
            </a:lvl8pPr>
            <a:lvl9pPr>
              <a:defRPr sz="18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 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597283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Content Balanced –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D034FA3F-D529-4D8B-B6EC-A8341FCAF67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ltGray">
          <a:xfrm>
            <a:off x="0" y="1600201"/>
            <a:ext cx="5893593" cy="4572000"/>
          </a:xfrm>
          <a:solidFill>
            <a:schemeClr val="accent4"/>
          </a:solidFill>
        </p:spPr>
        <p:txBody>
          <a:bodyPr vert="horz" lIns="594360" tIns="457200" rIns="457200" bIns="457200" rtlCol="0">
            <a:noAutofit/>
          </a:bodyPr>
          <a:lstStyle>
            <a:lvl1pPr>
              <a:spcBef>
                <a:spcPts val="1200"/>
              </a:spcBef>
              <a:defRPr lang="en-US" sz="1800" dirty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lang="en-US" sz="1600" dirty="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lang="en-US" sz="1400" dirty="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lang="en-US" sz="1200" dirty="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lang="en-US" sz="1200" dirty="0">
                <a:solidFill>
                  <a:schemeClr val="bg1"/>
                </a:solidFill>
              </a:defRPr>
            </a:lvl5pPr>
            <a:lvl6pPr>
              <a:buClrTx/>
              <a:defRPr sz="1800">
                <a:solidFill>
                  <a:schemeClr val="bg1"/>
                </a:solidFill>
              </a:defRPr>
            </a:lvl6pPr>
            <a:lvl7pPr>
              <a:buClrTx/>
              <a:defRPr sz="1400">
                <a:solidFill>
                  <a:schemeClr val="bg1"/>
                </a:solidFill>
              </a:defRPr>
            </a:lvl7pPr>
            <a:lvl8pPr>
              <a:buClrTx/>
              <a:defRPr sz="1200">
                <a:solidFill>
                  <a:schemeClr val="bg1"/>
                </a:solidFill>
              </a:defRPr>
            </a:lvl8pPr>
            <a:lvl9pPr>
              <a:buClrTx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 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72" name="Content Placeholder 17">
            <a:extLst>
              <a:ext uri="{FF2B5EF4-FFF2-40B4-BE49-F238E27FC236}">
                <a16:creationId xmlns:a16="http://schemas.microsoft.com/office/drawing/2014/main" id="{A0456ED3-FDC5-4E29-B939-E35EA08477CA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 bwMode="ltGray">
          <a:xfrm>
            <a:off x="6323381" y="1600201"/>
            <a:ext cx="5865445" cy="4572000"/>
          </a:xfrm>
          <a:solidFill>
            <a:schemeClr val="accent1"/>
          </a:solidFill>
        </p:spPr>
        <p:txBody>
          <a:bodyPr lIns="457200" tIns="457200" rIns="594360"/>
          <a:lstStyle>
            <a:lvl1pPr>
              <a:spcBef>
                <a:spcPts val="1200"/>
              </a:spcBef>
              <a:defRPr sz="18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2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6A9629E-98B5-43F5-8323-C894B734208A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00E4C6-16B5-49A9-898A-3B53C5AB06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One Line Tit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38535540-CB20-4CD5-9F73-DB64F5A49CD3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02742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D034FA3F-D529-4D8B-B6EC-A8341FCAF67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1" y="1600201"/>
            <a:ext cx="5866360" cy="4572000"/>
          </a:xfrm>
          <a:solidFill>
            <a:schemeClr val="bg2"/>
          </a:solidFill>
        </p:spPr>
        <p:txBody>
          <a:bodyPr lIns="594360" tIns="1371600" rIns="548640"/>
          <a:lstStyle>
            <a:lvl1pPr>
              <a:spcBef>
                <a:spcPts val="2400"/>
              </a:spcBef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400"/>
            </a:lvl7pPr>
            <a:lvl8pPr>
              <a:defRPr sz="1200"/>
            </a:lvl8pPr>
            <a:lvl9pPr>
              <a:defRPr sz="18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sp>
        <p:nvSpPr>
          <p:cNvPr id="72" name="Content Placeholder 17">
            <a:extLst>
              <a:ext uri="{FF2B5EF4-FFF2-40B4-BE49-F238E27FC236}">
                <a16:creationId xmlns:a16="http://schemas.microsoft.com/office/drawing/2014/main" id="{A0456ED3-FDC5-4E29-B939-E35EA08477CA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 bwMode="gray">
          <a:xfrm>
            <a:off x="6323381" y="1600201"/>
            <a:ext cx="5865445" cy="4572000"/>
          </a:xfrm>
          <a:solidFill>
            <a:schemeClr val="bg2"/>
          </a:solidFill>
        </p:spPr>
        <p:txBody>
          <a:bodyPr lIns="548640" tIns="1371600" rIns="548640"/>
          <a:lstStyle>
            <a:lvl1pPr>
              <a:spcBef>
                <a:spcPts val="2400"/>
              </a:spcBef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400"/>
            </a:lvl7pPr>
            <a:lvl8pPr>
              <a:defRPr sz="1200"/>
            </a:lvl8pPr>
            <a:lvl9pPr>
              <a:defRPr sz="18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 Seventh level</a:t>
            </a:r>
          </a:p>
          <a:p>
            <a:pPr lvl="7"/>
            <a:r>
              <a:rPr lang="en-US" dirty="0"/>
              <a:t> 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8337636-71A7-4831-B382-F842B3A2949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0" y="1806122"/>
            <a:ext cx="5637213" cy="911225"/>
          </a:xfrm>
          <a:solidFill>
            <a:schemeClr val="accent4"/>
          </a:solidFill>
        </p:spPr>
        <p:txBody>
          <a:bodyPr vert="horz" lIns="594360" tIns="91440" rIns="457200" bIns="91440" rtlCol="0" anchor="ctr">
            <a:noAutofit/>
          </a:bodyPr>
          <a:lstStyle>
            <a:lvl1pPr>
              <a:defRPr lang="en-US"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header 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78A74DE7-78E3-4ECA-9661-D73FBD37E48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551613" y="1806122"/>
            <a:ext cx="5637212" cy="911225"/>
          </a:xfrm>
          <a:solidFill>
            <a:schemeClr val="accent1"/>
          </a:solidFill>
        </p:spPr>
        <p:txBody>
          <a:bodyPr vert="horz" lIns="338328" tIns="91440" rIns="612648" bIns="91440" rtlCol="0" anchor="ctr">
            <a:noAutofit/>
          </a:bodyPr>
          <a:lstStyle>
            <a:lvl1pPr>
              <a:defRPr lang="en-US"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header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92176E5-FE3D-4EA5-BF24-8ABF8BFBF668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6A1FE0B-90B1-4BED-9AA5-6DC9F6424E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One Line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541C7AA-97CA-4F96-9506-F144DA2CD8E2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977492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Dynamic –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A9E4CD6E-324F-4BEC-884B-D217C07BF39E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346AD2E-9306-49E7-A98B-7D26E458C2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wrap="none"/>
          <a:lstStyle>
            <a:lvl1pPr>
              <a:defRPr/>
            </a:lvl1pPr>
          </a:lstStyle>
          <a:p>
            <a:r>
              <a:rPr lang="en-US" dirty="0"/>
              <a:t>Click to Add One Line Titl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577AE2CA-1B34-4F04-BD7F-F624F20E94FB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351213" y="1600200"/>
            <a:ext cx="8229600" cy="457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551435C2-3F7C-4835-8DB0-71E2C00537CF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add 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0FD232-93CB-4B54-A933-93C11B099F7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1600200"/>
            <a:ext cx="2894013" cy="4572000"/>
          </a:xfrm>
          <a:solidFill>
            <a:schemeClr val="accent2"/>
          </a:solidFill>
        </p:spPr>
        <p:txBody>
          <a:bodyPr lIns="594360" tIns="457200" rIns="457200" bIns="457200"/>
          <a:lstStyle>
            <a:lvl1pPr>
              <a:defRPr sz="1600">
                <a:solidFill>
                  <a:schemeClr val="bg1"/>
                </a:solidFill>
              </a:defRPr>
            </a:lvl1pPr>
            <a:lvl2pPr marL="171450" indent="-171450"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 marL="342900" indent="-171450">
              <a:buClr>
                <a:schemeClr val="bg1"/>
              </a:buClr>
              <a:defRPr sz="1200">
                <a:solidFill>
                  <a:schemeClr val="bg1"/>
                </a:solidFill>
              </a:defRPr>
            </a:lvl3pPr>
            <a:lvl4pPr marL="514350" indent="-171450"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 marL="742950" indent="-171450"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 sz="1800"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 sz="1400">
                <a:solidFill>
                  <a:schemeClr val="bg1"/>
                </a:solidFill>
              </a:defRPr>
            </a:lvl7pPr>
            <a:lvl8pPr>
              <a:buClrTx/>
              <a:defRPr sz="1200">
                <a:solidFill>
                  <a:schemeClr val="bg1"/>
                </a:solidFill>
              </a:defRPr>
            </a:lvl8pPr>
            <a:lvl9pPr>
              <a:buClrTx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417339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Dynamic –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460DEEA-0331-45ED-8943-6F9E7488409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08013" y="1600200"/>
            <a:ext cx="8229600" cy="45720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DE1D12F-78DF-4A32-BDDB-1E22FB9CA5D0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92A934A-AC6B-460C-9C93-B13CF6B626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wrap="none"/>
          <a:lstStyle>
            <a:lvl1pPr>
              <a:defRPr/>
            </a:lvl1pPr>
          </a:lstStyle>
          <a:p>
            <a:r>
              <a:rPr lang="en-US" dirty="0"/>
              <a:t>Click to Add One Line Tit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F6F5131D-84AE-4294-83A1-243FE1C81A8A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197ED16-D162-4BF7-B635-2F70E10855A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94813" y="1600200"/>
            <a:ext cx="2894012" cy="4572000"/>
          </a:xfrm>
          <a:solidFill>
            <a:schemeClr val="accent1"/>
          </a:solidFill>
        </p:spPr>
        <p:txBody>
          <a:bodyPr lIns="457200" tIns="457200" rIns="594360" bIns="457200"/>
          <a:lstStyle>
            <a:lvl1pPr>
              <a:defRPr sz="1600">
                <a:solidFill>
                  <a:schemeClr val="bg1"/>
                </a:solidFill>
              </a:defRPr>
            </a:lvl1pPr>
            <a:lvl2pPr marL="171450" indent="-171450"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 marL="342900" indent="-171450">
              <a:buClr>
                <a:schemeClr val="bg1"/>
              </a:buClr>
              <a:defRPr sz="1200">
                <a:solidFill>
                  <a:schemeClr val="bg1"/>
                </a:solidFill>
              </a:defRPr>
            </a:lvl3pPr>
            <a:lvl4pPr marL="514350" indent="-171450"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 marL="685800" indent="-171450"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 Eight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008393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-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D034FA3F-D529-4D8B-B6EC-A8341FCAF67E}"/>
              </a:ext>
            </a:extLst>
          </p:cNvPr>
          <p:cNvSpPr>
            <a:spLocks noGrp="1"/>
          </p:cNvSpPr>
          <p:nvPr userDrawn="1">
            <p:ph sz="quarter" idx="14" hasCustomPrompt="1"/>
          </p:nvPr>
        </p:nvSpPr>
        <p:spPr bwMode="gray">
          <a:xfrm>
            <a:off x="616504" y="2515154"/>
            <a:ext cx="3346929" cy="3657600"/>
          </a:xfrm>
          <a:solidFill>
            <a:schemeClr val="bg2"/>
          </a:solidFill>
        </p:spPr>
        <p:txBody>
          <a:bodyPr lIns="182880" tIns="274320" rIns="182880"/>
          <a:lstStyle>
            <a:lvl1pPr algn="l">
              <a:spcBef>
                <a:spcPts val="1200"/>
              </a:spcBef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200"/>
            </a:lvl7pPr>
            <a:lvl8pPr>
              <a:defRPr sz="1100"/>
            </a:lvl8pPr>
            <a:lvl9pPr>
              <a:defRPr sz="16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Level two</a:t>
            </a:r>
          </a:p>
          <a:p>
            <a:pPr lvl="2"/>
            <a:r>
              <a:rPr lang="en-US" dirty="0"/>
              <a:t>Level three</a:t>
            </a:r>
          </a:p>
          <a:p>
            <a:pPr lvl="3"/>
            <a:r>
              <a:rPr lang="en-US" dirty="0"/>
              <a:t>Level four</a:t>
            </a:r>
          </a:p>
          <a:p>
            <a:pPr lvl="4"/>
            <a:r>
              <a:rPr lang="en-US" dirty="0"/>
              <a:t>Level Five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 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  <a:p>
            <a:pPr lvl="1"/>
            <a:endParaRPr lang="en-US" dirty="0"/>
          </a:p>
        </p:txBody>
      </p:sp>
      <p:sp>
        <p:nvSpPr>
          <p:cNvPr id="72" name="Content Placeholder 17">
            <a:extLst>
              <a:ext uri="{FF2B5EF4-FFF2-40B4-BE49-F238E27FC236}">
                <a16:creationId xmlns:a16="http://schemas.microsoft.com/office/drawing/2014/main" id="{A0456ED3-FDC5-4E29-B939-E35EA08477CA}"/>
              </a:ext>
            </a:extLst>
          </p:cNvPr>
          <p:cNvSpPr>
            <a:spLocks noGrp="1"/>
          </p:cNvSpPr>
          <p:nvPr userDrawn="1">
            <p:ph sz="quarter" idx="16" hasCustomPrompt="1"/>
          </p:nvPr>
        </p:nvSpPr>
        <p:spPr bwMode="gray">
          <a:xfrm>
            <a:off x="4419676" y="2515154"/>
            <a:ext cx="3349473" cy="3657600"/>
          </a:xfrm>
          <a:solidFill>
            <a:schemeClr val="bg2"/>
          </a:solidFill>
        </p:spPr>
        <p:txBody>
          <a:bodyPr lIns="182880" tIns="274320" rIns="182880"/>
          <a:lstStyle>
            <a:lvl1pPr algn="l">
              <a:spcBef>
                <a:spcPts val="1200"/>
              </a:spcBef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200"/>
            </a:lvl7pPr>
            <a:lvl8pPr>
              <a:defRPr sz="1100"/>
            </a:lvl8pPr>
            <a:lvl9pPr>
              <a:defRPr sz="16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Level two</a:t>
            </a:r>
          </a:p>
          <a:p>
            <a:pPr lvl="2"/>
            <a:r>
              <a:rPr lang="en-US" dirty="0"/>
              <a:t>Level three</a:t>
            </a:r>
          </a:p>
          <a:p>
            <a:pPr lvl="3"/>
            <a:r>
              <a:rPr lang="en-US" dirty="0"/>
              <a:t>Level four</a:t>
            </a:r>
          </a:p>
          <a:p>
            <a:pPr lvl="4"/>
            <a:r>
              <a:rPr lang="en-US" dirty="0"/>
              <a:t>Level Five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 Level Seven 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  <a:p>
            <a:pPr lvl="3"/>
            <a:endParaRPr lang="en-US" dirty="0"/>
          </a:p>
          <a:p>
            <a:pPr lvl="1"/>
            <a:endParaRPr lang="en-US" dirty="0"/>
          </a:p>
        </p:txBody>
      </p:sp>
      <p:sp>
        <p:nvSpPr>
          <p:cNvPr id="73" name="Content Placeholder 17">
            <a:extLst>
              <a:ext uri="{FF2B5EF4-FFF2-40B4-BE49-F238E27FC236}">
                <a16:creationId xmlns:a16="http://schemas.microsoft.com/office/drawing/2014/main" id="{9C016467-4262-4DAA-9B43-A02E57530676}"/>
              </a:ext>
            </a:extLst>
          </p:cNvPr>
          <p:cNvSpPr>
            <a:spLocks noGrp="1"/>
          </p:cNvSpPr>
          <p:nvPr userDrawn="1">
            <p:ph sz="quarter" idx="17" hasCustomPrompt="1"/>
          </p:nvPr>
        </p:nvSpPr>
        <p:spPr bwMode="gray">
          <a:xfrm>
            <a:off x="8236361" y="2515154"/>
            <a:ext cx="3346704" cy="3657600"/>
          </a:xfrm>
          <a:solidFill>
            <a:schemeClr val="bg2"/>
          </a:solidFill>
        </p:spPr>
        <p:txBody>
          <a:bodyPr lIns="182880" tIns="274320" rIns="182880"/>
          <a:lstStyle>
            <a:lvl1pPr algn="l">
              <a:spcBef>
                <a:spcPts val="1200"/>
              </a:spcBef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200"/>
            </a:lvl7pPr>
            <a:lvl8pPr>
              <a:defRPr sz="1100"/>
            </a:lvl8pPr>
            <a:lvl9pPr>
              <a:defRPr sz="16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Level two</a:t>
            </a:r>
          </a:p>
          <a:p>
            <a:pPr lvl="2"/>
            <a:r>
              <a:rPr lang="en-US" dirty="0"/>
              <a:t>Level three</a:t>
            </a:r>
          </a:p>
          <a:p>
            <a:pPr lvl="3"/>
            <a:r>
              <a:rPr lang="en-US" dirty="0"/>
              <a:t>Level four</a:t>
            </a:r>
          </a:p>
          <a:p>
            <a:pPr lvl="4"/>
            <a:r>
              <a:rPr lang="en-US" dirty="0"/>
              <a:t>Level five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  <a:p>
            <a:pPr lvl="1"/>
            <a:endParaRPr lang="en-US" dirty="0"/>
          </a:p>
        </p:txBody>
      </p:sp>
      <p:sp>
        <p:nvSpPr>
          <p:cNvPr id="818" name="TextBox 817">
            <a:extLst>
              <a:ext uri="{FF2B5EF4-FFF2-40B4-BE49-F238E27FC236}">
                <a16:creationId xmlns:a16="http://schemas.microsoft.com/office/drawing/2014/main" id="{0B7E1504-B128-423C-AA77-E7FED5DC3B79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F2C94F-DA57-4BDB-8E5C-E4A0C75223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One Line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FC59F98B-A991-4DEC-A409-289E778CB84A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9392189-2D4C-4618-9072-F26EE557FD0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6504" y="1600200"/>
            <a:ext cx="3346704" cy="914400"/>
          </a:xfrm>
          <a:solidFill>
            <a:schemeClr val="accent4"/>
          </a:solidFill>
        </p:spPr>
        <p:txBody>
          <a:bodyPr lIns="182880" tIns="91440" rIns="182880" bIns="91440" anchor="ctr"/>
          <a:lstStyle>
            <a:lvl1pPr>
              <a:defRPr sz="1800">
                <a:solidFill>
                  <a:schemeClr val="bg1"/>
                </a:solidFill>
              </a:defRPr>
            </a:lvl1pPr>
            <a:lvl2pPr marL="0" indent="0">
              <a:buFont typeface="Open Sans" panose="020B0606030504020204" pitchFamily="34" charset="0"/>
              <a:buChar char="​"/>
              <a:defRPr sz="1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header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665955AB-F417-4DCB-8CC3-98BAC90A9AF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419676" y="1600200"/>
            <a:ext cx="3346704" cy="914400"/>
          </a:xfrm>
          <a:solidFill>
            <a:schemeClr val="accent1"/>
          </a:solidFill>
        </p:spPr>
        <p:txBody>
          <a:bodyPr lIns="182880" tIns="91440" rIns="182880" bIns="91440" anchor="ctr"/>
          <a:lstStyle>
            <a:lvl1pPr>
              <a:defRPr sz="1800">
                <a:solidFill>
                  <a:schemeClr val="bg1"/>
                </a:solidFill>
              </a:defRPr>
            </a:lvl1pPr>
            <a:lvl2pPr marL="0" indent="0">
              <a:buFont typeface="Open Sans" panose="020B0606030504020204" pitchFamily="34" charset="0"/>
              <a:buChar char="​"/>
              <a:defRPr sz="1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header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7AFB5407-642C-468A-81DB-F0C5C485F6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36361" y="1600200"/>
            <a:ext cx="3346704" cy="914400"/>
          </a:xfrm>
          <a:solidFill>
            <a:schemeClr val="accent2"/>
          </a:solidFill>
        </p:spPr>
        <p:txBody>
          <a:bodyPr lIns="182880" tIns="91440" rIns="182880" bIns="91440" anchor="ctr"/>
          <a:lstStyle>
            <a:lvl1pPr>
              <a:defRPr sz="1800">
                <a:solidFill>
                  <a:schemeClr val="bg1"/>
                </a:solidFill>
              </a:defRPr>
            </a:lvl1pPr>
            <a:lvl2pPr marL="0" indent="0">
              <a:buFont typeface="Open Sans" panose="020B0606030504020204" pitchFamily="34" charset="0"/>
              <a:buChar char="​"/>
              <a:defRPr sz="1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3512388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30CD733-93DE-4793-929B-26E6DBA7592D}"/>
              </a:ext>
            </a:extLst>
          </p:cNvPr>
          <p:cNvSpPr/>
          <p:nvPr userDrawn="1"/>
        </p:nvSpPr>
        <p:spPr bwMode="ltGray">
          <a:xfrm>
            <a:off x="1" y="1600202"/>
            <a:ext cx="7923212" cy="4570946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>
              <a:solidFill>
                <a:schemeClr val="accent2"/>
              </a:solidFill>
            </a:endParaRP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D8C8783A-257B-4A50-95A0-6C7B8E51707B}"/>
              </a:ext>
            </a:extLst>
          </p:cNvPr>
          <p:cNvCxnSpPr>
            <a:cxnSpLocks/>
          </p:cNvCxnSpPr>
          <p:nvPr userDrawn="1"/>
        </p:nvCxnSpPr>
        <p:spPr>
          <a:xfrm>
            <a:off x="8380413" y="1608668"/>
            <a:ext cx="3808412" cy="0"/>
          </a:xfrm>
          <a:prstGeom prst="line">
            <a:avLst/>
          </a:prstGeom>
          <a:ln w="25400">
            <a:solidFill>
              <a:schemeClr val="accent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3A17EA1E-A574-444B-9004-45836D98DAD0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157BCD9-063B-4ED4-B68C-092EC2C342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wrap="none"/>
          <a:lstStyle>
            <a:lvl1pPr>
              <a:defRPr/>
            </a:lvl1pPr>
          </a:lstStyle>
          <a:p>
            <a:r>
              <a:rPr lang="en-US" dirty="0"/>
              <a:t>Click to Add One Line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F7496CC-9DD2-4299-850C-005958FB65C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0413" y="1600200"/>
            <a:ext cx="3808412" cy="4572000"/>
          </a:xfrm>
        </p:spPr>
        <p:txBody>
          <a:bodyPr tIns="457200" rIns="594360" bIns="457200"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400"/>
            </a:lvl7pPr>
            <a:lvl8pPr>
              <a:defRPr sz="1200"/>
            </a:lvl8pPr>
            <a:lvl9pPr>
              <a:defRPr sz="18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 Seventh level</a:t>
            </a:r>
          </a:p>
          <a:p>
            <a:pPr lvl="7"/>
            <a:r>
              <a:rPr lang="en-US" dirty="0"/>
              <a:t> 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A0D276D7-17CD-46AB-99B2-97FD34FEEFFA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72270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tcome / Benef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BB1458BF-96C1-46C6-A67F-AD0FB4B4E5C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78825" y="4347904"/>
            <a:ext cx="3201988" cy="1600200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8781D19-2DDB-4D83-983D-3D159A7DE7C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78825" y="2063048"/>
            <a:ext cx="3201988" cy="1600200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005EB21-86C3-42EF-BFE7-549D9EA364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0413" y="1699688"/>
            <a:ext cx="2006600" cy="298450"/>
          </a:xfrm>
        </p:spPr>
        <p:txBody>
          <a:bodyPr anchor="b"/>
          <a:lstStyle>
            <a:lvl1pPr>
              <a:defRPr sz="1600">
                <a:solidFill>
                  <a:schemeClr val="accent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Outcome</a:t>
            </a:r>
          </a:p>
        </p:txBody>
      </p: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F789B473-DDE6-4450-A111-3761F341AAE3}"/>
              </a:ext>
            </a:extLst>
          </p:cNvPr>
          <p:cNvCxnSpPr>
            <a:cxnSpLocks/>
          </p:cNvCxnSpPr>
          <p:nvPr userDrawn="1"/>
        </p:nvCxnSpPr>
        <p:spPr>
          <a:xfrm>
            <a:off x="8380413" y="3872441"/>
            <a:ext cx="3808412" cy="0"/>
          </a:xfrm>
          <a:prstGeom prst="line">
            <a:avLst/>
          </a:prstGeom>
          <a:ln w="25400">
            <a:solidFill>
              <a:schemeClr val="accent4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 Placeholder 6">
            <a:extLst>
              <a:ext uri="{FF2B5EF4-FFF2-40B4-BE49-F238E27FC236}">
                <a16:creationId xmlns:a16="http://schemas.microsoft.com/office/drawing/2014/main" id="{0D0977FA-A4CA-4F1F-8109-D7498D165ED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80413" y="3972469"/>
            <a:ext cx="2006600" cy="298450"/>
          </a:xfrm>
        </p:spPr>
        <p:txBody>
          <a:bodyPr anchor="b"/>
          <a:lstStyle>
            <a:lvl1pPr>
              <a:defRPr sz="1600">
                <a:solidFill>
                  <a:schemeClr val="accent4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Benefi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F992B4C-D72B-4160-80E2-5EE05E2DDD3F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E15888C-CFB4-4BEC-9B94-46E698DFC4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wrap="none"/>
          <a:lstStyle>
            <a:lvl1pPr>
              <a:defRPr/>
            </a:lvl1pPr>
          </a:lstStyle>
          <a:p>
            <a:r>
              <a:rPr lang="en-US" dirty="0"/>
              <a:t>Click to Add One Line Tit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2EE86E2-0F2F-484B-8170-3AEBA1DDEB2D}"/>
              </a:ext>
            </a:extLst>
          </p:cNvPr>
          <p:cNvSpPr/>
          <p:nvPr userDrawn="1"/>
        </p:nvSpPr>
        <p:spPr bwMode="ltGray">
          <a:xfrm>
            <a:off x="1" y="1600201"/>
            <a:ext cx="7923212" cy="457094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>
              <a:solidFill>
                <a:schemeClr val="accent2"/>
              </a:solidFill>
            </a:endParaRPr>
          </a:p>
        </p:txBody>
      </p: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56D4D92B-574E-4F63-A5BA-8F7282B54C27}"/>
              </a:ext>
            </a:extLst>
          </p:cNvPr>
          <p:cNvCxnSpPr>
            <a:cxnSpLocks/>
          </p:cNvCxnSpPr>
          <p:nvPr userDrawn="1"/>
        </p:nvCxnSpPr>
        <p:spPr>
          <a:xfrm>
            <a:off x="8380413" y="1608668"/>
            <a:ext cx="3808412" cy="0"/>
          </a:xfrm>
          <a:prstGeom prst="line">
            <a:avLst/>
          </a:prstGeom>
          <a:ln w="25400">
            <a:solidFill>
              <a:schemeClr val="accent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Subtitle 2">
            <a:extLst>
              <a:ext uri="{FF2B5EF4-FFF2-40B4-BE49-F238E27FC236}">
                <a16:creationId xmlns:a16="http://schemas.microsoft.com/office/drawing/2014/main" id="{E9D6A872-88BD-4DFC-AFFD-1E9BEEB6533B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617220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Succ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309367CD-64CE-4B7B-91B1-53B17F8F693D}"/>
              </a:ext>
            </a:extLst>
          </p:cNvPr>
          <p:cNvSpPr/>
          <p:nvPr userDrawn="1"/>
        </p:nvSpPr>
        <p:spPr bwMode="ltGray">
          <a:xfrm>
            <a:off x="1" y="1600201"/>
            <a:ext cx="7923212" cy="457094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US" sz="2800">
              <a:solidFill>
                <a:schemeClr val="accent2"/>
              </a:solidFill>
            </a:endParaRPr>
          </a:p>
        </p:txBody>
      </p:sp>
      <p:sp>
        <p:nvSpPr>
          <p:cNvPr id="72" name="Content Placeholder 17">
            <a:extLst>
              <a:ext uri="{FF2B5EF4-FFF2-40B4-BE49-F238E27FC236}">
                <a16:creationId xmlns:a16="http://schemas.microsoft.com/office/drawing/2014/main" id="{A0456ED3-FDC5-4E29-B939-E35EA08477CA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11645" y="2409552"/>
            <a:ext cx="3201848" cy="934931"/>
          </a:xfrm>
          <a:noFill/>
        </p:spPr>
        <p:txBody>
          <a:bodyPr vert="horz" lIns="0" tIns="0" rIns="0" bIns="45720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1050" dirty="0">
                <a:solidFill>
                  <a:schemeClr val="tx2"/>
                </a:solidFill>
              </a:defRPr>
            </a:lvl1pPr>
            <a:lvl2pPr marL="114300" indent="-114300">
              <a:lnSpc>
                <a:spcPct val="100000"/>
              </a:lnSpc>
              <a:spcBef>
                <a:spcPts val="0"/>
              </a:spcBef>
              <a:defRPr lang="en-US" sz="1000" dirty="0">
                <a:solidFill>
                  <a:schemeClr val="tx2"/>
                </a:solidFill>
              </a:defRPr>
            </a:lvl2pPr>
            <a:lvl3pPr>
              <a:defRPr lang="en-US" sz="1400" dirty="0">
                <a:solidFill>
                  <a:schemeClr val="tx2"/>
                </a:solidFill>
              </a:defRPr>
            </a:lvl3pPr>
            <a:lvl4pPr>
              <a:defRPr lang="en-US" sz="1200" dirty="0">
                <a:solidFill>
                  <a:schemeClr val="tx2"/>
                </a:solidFill>
              </a:defRPr>
            </a:lvl4pPr>
            <a:lvl5pPr>
              <a:defRPr lang="en-US" sz="1200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005EB21-86C3-42EF-BFE7-549D9EA364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3093" y="2079840"/>
            <a:ext cx="2006600" cy="227454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About</a:t>
            </a:r>
          </a:p>
        </p:txBody>
      </p:sp>
      <p:sp>
        <p:nvSpPr>
          <p:cNvPr id="74" name="Content Placeholder 17">
            <a:extLst>
              <a:ext uri="{FF2B5EF4-FFF2-40B4-BE49-F238E27FC236}">
                <a16:creationId xmlns:a16="http://schemas.microsoft.com/office/drawing/2014/main" id="{F00013B6-2241-400E-9E61-946C485F8D5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11645" y="3952605"/>
            <a:ext cx="3201848" cy="847996"/>
          </a:xfrm>
          <a:noFill/>
        </p:spPr>
        <p:txBody>
          <a:bodyPr vert="horz" lIns="0" tIns="0" rIns="0" bIns="45720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1050" dirty="0">
                <a:solidFill>
                  <a:schemeClr val="tx2"/>
                </a:solidFill>
              </a:defRPr>
            </a:lvl1pPr>
            <a:lvl2pPr marL="114300" indent="-114300">
              <a:lnSpc>
                <a:spcPct val="100000"/>
              </a:lnSpc>
              <a:spcBef>
                <a:spcPts val="0"/>
              </a:spcBef>
              <a:defRPr lang="en-US" sz="1000" dirty="0">
                <a:solidFill>
                  <a:schemeClr val="tx2"/>
                </a:solidFill>
              </a:defRPr>
            </a:lvl2pPr>
            <a:lvl3pPr>
              <a:defRPr lang="en-US" sz="1400" dirty="0">
                <a:solidFill>
                  <a:schemeClr val="tx2"/>
                </a:solidFill>
              </a:defRPr>
            </a:lvl3pPr>
            <a:lvl4pPr>
              <a:defRPr lang="en-US" sz="1200" dirty="0">
                <a:solidFill>
                  <a:schemeClr val="tx2"/>
                </a:solidFill>
              </a:defRPr>
            </a:lvl4pPr>
            <a:lvl5pPr>
              <a:defRPr lang="en-US" sz="1200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D8C8783A-257B-4A50-95A0-6C7B8E51707B}"/>
              </a:ext>
            </a:extLst>
          </p:cNvPr>
          <p:cNvCxnSpPr>
            <a:cxnSpLocks/>
          </p:cNvCxnSpPr>
          <p:nvPr userDrawn="1"/>
        </p:nvCxnSpPr>
        <p:spPr>
          <a:xfrm>
            <a:off x="609600" y="1964843"/>
            <a:ext cx="3198812" cy="0"/>
          </a:xfrm>
          <a:prstGeom prst="line">
            <a:avLst/>
          </a:prstGeom>
          <a:ln w="25400">
            <a:solidFill>
              <a:schemeClr val="accent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F789B473-DDE6-4450-A111-3761F341AAE3}"/>
              </a:ext>
            </a:extLst>
          </p:cNvPr>
          <p:cNvCxnSpPr>
            <a:cxnSpLocks/>
          </p:cNvCxnSpPr>
          <p:nvPr userDrawn="1"/>
        </p:nvCxnSpPr>
        <p:spPr>
          <a:xfrm>
            <a:off x="609600" y="3547676"/>
            <a:ext cx="3198812" cy="0"/>
          </a:xfrm>
          <a:prstGeom prst="line">
            <a:avLst/>
          </a:prstGeom>
          <a:ln w="25400">
            <a:solidFill>
              <a:schemeClr val="accent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 Placeholder 6">
            <a:extLst>
              <a:ext uri="{FF2B5EF4-FFF2-40B4-BE49-F238E27FC236}">
                <a16:creationId xmlns:a16="http://schemas.microsoft.com/office/drawing/2014/main" id="{0D0977FA-A4CA-4F1F-8109-D7498D165EDD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613093" y="3634037"/>
            <a:ext cx="2006600" cy="227454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halleng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F992B4C-D72B-4160-80E2-5EE05E2DDD3F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100000"/>
                </a:lnSpc>
                <a:spcBef>
                  <a:spcPts val="0"/>
                </a:spcBef>
              </a:pPr>
              <a:t>‹#›</a:t>
            </a:fld>
            <a:endParaRPr lang="en-US">
              <a:latin typeface="+mj-lt"/>
            </a:endParaRPr>
          </a:p>
        </p:txBody>
      </p:sp>
      <p:sp>
        <p:nvSpPr>
          <p:cNvPr id="87" name="Content Placeholder 17">
            <a:extLst>
              <a:ext uri="{FF2B5EF4-FFF2-40B4-BE49-F238E27FC236}">
                <a16:creationId xmlns:a16="http://schemas.microsoft.com/office/drawing/2014/main" id="{CB3B18B9-1B70-4F2B-86D9-C5183A845D12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269245" y="2409552"/>
            <a:ext cx="3201848" cy="934931"/>
          </a:xfrm>
          <a:noFill/>
        </p:spPr>
        <p:txBody>
          <a:bodyPr vert="horz" lIns="0" tIns="0" rIns="0" bIns="45720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1050" dirty="0">
                <a:solidFill>
                  <a:schemeClr val="tx2"/>
                </a:solidFill>
              </a:defRPr>
            </a:lvl1pPr>
            <a:lvl2pPr marL="114300" indent="-114300">
              <a:lnSpc>
                <a:spcPct val="100000"/>
              </a:lnSpc>
              <a:spcBef>
                <a:spcPts val="0"/>
              </a:spcBef>
              <a:defRPr lang="en-US" sz="1000" dirty="0">
                <a:solidFill>
                  <a:schemeClr val="tx2"/>
                </a:solidFill>
              </a:defRPr>
            </a:lvl2pPr>
            <a:lvl3pPr>
              <a:defRPr lang="en-US" sz="1400" dirty="0">
                <a:solidFill>
                  <a:schemeClr val="tx2"/>
                </a:solidFill>
              </a:defRPr>
            </a:lvl3pPr>
            <a:lvl4pPr>
              <a:defRPr lang="en-US" sz="1200" dirty="0">
                <a:solidFill>
                  <a:schemeClr val="tx2"/>
                </a:solidFill>
              </a:defRPr>
            </a:lvl4pPr>
            <a:lvl5pPr>
              <a:defRPr lang="en-US" sz="1200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8" name="Text Placeholder 6">
            <a:extLst>
              <a:ext uri="{FF2B5EF4-FFF2-40B4-BE49-F238E27FC236}">
                <a16:creationId xmlns:a16="http://schemas.microsoft.com/office/drawing/2014/main" id="{45C2837B-EA55-4186-A2EA-1E7FB5B122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70693" y="2079840"/>
            <a:ext cx="2006600" cy="227454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4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Solution</a:t>
            </a:r>
          </a:p>
        </p:txBody>
      </p:sp>
      <p:sp>
        <p:nvSpPr>
          <p:cNvPr id="89" name="Content Placeholder 17">
            <a:extLst>
              <a:ext uri="{FF2B5EF4-FFF2-40B4-BE49-F238E27FC236}">
                <a16:creationId xmlns:a16="http://schemas.microsoft.com/office/drawing/2014/main" id="{00A3A11C-EA43-4ACC-83B9-C4C7C1080E3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269245" y="3952605"/>
            <a:ext cx="3201848" cy="847996"/>
          </a:xfrm>
          <a:noFill/>
        </p:spPr>
        <p:txBody>
          <a:bodyPr vert="horz" lIns="0" tIns="0" rIns="0" bIns="45720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1050" dirty="0">
                <a:solidFill>
                  <a:schemeClr val="tx2"/>
                </a:solidFill>
              </a:defRPr>
            </a:lvl1pPr>
            <a:lvl2pPr marL="114300" indent="-114300">
              <a:lnSpc>
                <a:spcPct val="100000"/>
              </a:lnSpc>
              <a:spcBef>
                <a:spcPts val="0"/>
              </a:spcBef>
              <a:defRPr lang="en-US" sz="1000" dirty="0">
                <a:solidFill>
                  <a:schemeClr val="tx2"/>
                </a:solidFill>
              </a:defRPr>
            </a:lvl2pPr>
            <a:lvl3pPr>
              <a:defRPr lang="en-US" sz="1400" dirty="0">
                <a:solidFill>
                  <a:schemeClr val="tx2"/>
                </a:solidFill>
              </a:defRPr>
            </a:lvl3pPr>
            <a:lvl4pPr>
              <a:defRPr lang="en-US" sz="1200" dirty="0">
                <a:solidFill>
                  <a:schemeClr val="tx2"/>
                </a:solidFill>
              </a:defRPr>
            </a:lvl4pPr>
            <a:lvl5pPr>
              <a:defRPr lang="en-US" sz="1200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EAAB5B3C-AE89-4605-BB4B-0C07DE733C40}"/>
              </a:ext>
            </a:extLst>
          </p:cNvPr>
          <p:cNvCxnSpPr>
            <a:cxnSpLocks/>
          </p:cNvCxnSpPr>
          <p:nvPr userDrawn="1"/>
        </p:nvCxnSpPr>
        <p:spPr>
          <a:xfrm>
            <a:off x="4267200" y="1964843"/>
            <a:ext cx="3198812" cy="0"/>
          </a:xfrm>
          <a:prstGeom prst="line">
            <a:avLst/>
          </a:prstGeom>
          <a:ln w="25400">
            <a:solidFill>
              <a:schemeClr val="accent4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4709593A-BC10-40A3-842E-346F6E0EE30C}"/>
              </a:ext>
            </a:extLst>
          </p:cNvPr>
          <p:cNvCxnSpPr>
            <a:cxnSpLocks/>
          </p:cNvCxnSpPr>
          <p:nvPr userDrawn="1"/>
        </p:nvCxnSpPr>
        <p:spPr>
          <a:xfrm>
            <a:off x="4267200" y="3547676"/>
            <a:ext cx="3198812" cy="0"/>
          </a:xfrm>
          <a:prstGeom prst="line">
            <a:avLst/>
          </a:prstGeom>
          <a:ln w="25400">
            <a:solidFill>
              <a:schemeClr val="accent6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Text Placeholder 6">
            <a:extLst>
              <a:ext uri="{FF2B5EF4-FFF2-40B4-BE49-F238E27FC236}">
                <a16:creationId xmlns:a16="http://schemas.microsoft.com/office/drawing/2014/main" id="{48CE9E08-388B-4458-B1F4-453A8413D63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70693" y="3634037"/>
            <a:ext cx="2006600" cy="227454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6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Impact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D909953-1B24-4C7D-A173-A53DF3FC7EC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382000" y="2971800"/>
            <a:ext cx="3194050" cy="18288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D0ED48B1-3A1C-41E2-BEC6-E8E6B54A07B0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9074150" y="1600200"/>
            <a:ext cx="1841500" cy="660399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defRPr/>
            </a:lvl1pPr>
          </a:lstStyle>
          <a:p>
            <a:r>
              <a:rPr lang="en-US"/>
              <a:t>Insert Logo he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0A78DDD-5F83-4940-98A7-CF6D7FB8140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82000" y="5022214"/>
            <a:ext cx="3200400" cy="1153795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400"/>
            </a:lvl1pPr>
            <a:lvl2pPr marL="0" indent="0" algn="ctr">
              <a:lnSpc>
                <a:spcPct val="100000"/>
              </a:lnSpc>
              <a:spcBef>
                <a:spcPts val="0"/>
              </a:spcBef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2pPr>
            <a:lvl3pPr marL="0" indent="0" algn="ctr">
              <a:buFont typeface="Open Sans" panose="020B0606030504020204" pitchFamily="34" charset="0"/>
              <a:buNone/>
              <a:defRPr sz="1200">
                <a:solidFill>
                  <a:schemeClr val="accent1"/>
                </a:solidFill>
              </a:defRPr>
            </a:lvl3pPr>
            <a:lvl4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4pPr>
            <a:lvl5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3" name="Text Placeholder 10">
            <a:extLst>
              <a:ext uri="{FF2B5EF4-FFF2-40B4-BE49-F238E27FC236}">
                <a16:creationId xmlns:a16="http://schemas.microsoft.com/office/drawing/2014/main" id="{356F2006-5264-4FEB-8EBA-8BA6A55D19B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75650" y="2347933"/>
            <a:ext cx="3206750" cy="241300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defRPr sz="1200"/>
            </a:lvl1pPr>
            <a:lvl2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2pPr>
            <a:lvl3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3pPr>
            <a:lvl4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4pPr>
            <a:lvl5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Location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AF7F59A-4C67-4F41-A6E0-906850EDF3F1}"/>
              </a:ext>
            </a:extLst>
          </p:cNvPr>
          <p:cNvSpPr/>
          <p:nvPr userDrawn="1"/>
        </p:nvSpPr>
        <p:spPr>
          <a:xfrm>
            <a:off x="608739" y="4978399"/>
            <a:ext cx="3204753" cy="879645"/>
          </a:xfrm>
          <a:prstGeom prst="rect">
            <a:avLst/>
          </a:prstGeom>
          <a:gradFill>
            <a:gsLst>
              <a:gs pos="0">
                <a:schemeClr val="accent4"/>
              </a:gs>
              <a:gs pos="98000">
                <a:schemeClr val="accent4"/>
              </a:gs>
            </a:gsLst>
            <a:lin ang="5400000" scaled="1"/>
          </a:gradFill>
        </p:spPr>
        <p:txBody>
          <a:bodyPr vert="horz" lIns="594360" tIns="457200" rIns="457200" bIns="457200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​"/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85779326-D874-4DC4-BA73-C7157B414B05}"/>
              </a:ext>
            </a:extLst>
          </p:cNvPr>
          <p:cNvSpPr/>
          <p:nvPr userDrawn="1"/>
        </p:nvSpPr>
        <p:spPr>
          <a:xfrm>
            <a:off x="4267199" y="4978400"/>
            <a:ext cx="3203893" cy="878840"/>
          </a:xfrm>
          <a:prstGeom prst="rect">
            <a:avLst/>
          </a:prstGeom>
          <a:solidFill>
            <a:schemeClr val="accent1"/>
          </a:solidFill>
        </p:spPr>
        <p:txBody>
          <a:bodyPr vert="horz" lIns="457200" tIns="457200" rIns="594360" bIns="0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​"/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0FD359B-DBB1-4A58-B3A5-88DBD360EF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ompany Name</a:t>
            </a:r>
          </a:p>
        </p:txBody>
      </p:sp>
      <p:sp>
        <p:nvSpPr>
          <p:cNvPr id="27" name="Subtitle 2">
            <a:extLst>
              <a:ext uri="{FF2B5EF4-FFF2-40B4-BE49-F238E27FC236}">
                <a16:creationId xmlns:a16="http://schemas.microsoft.com/office/drawing/2014/main" id="{9A29AA74-2865-4B6A-BD11-7A351A336A6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09C7727F-F570-4AF1-856D-98544836237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75650" y="2647290"/>
            <a:ext cx="3206750" cy="241300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defRPr sz="1200"/>
            </a:lvl1pPr>
            <a:lvl2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2pPr>
            <a:lvl3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3pPr>
            <a:lvl4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4pPr>
            <a:lvl5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Industry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F13DC67D-58A2-45BD-A728-B6ECDD8B5A5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3093" y="4978400"/>
            <a:ext cx="3200400" cy="227454"/>
          </a:xfrm>
        </p:spPr>
        <p:txBody>
          <a:bodyPr anchor="b"/>
          <a:lstStyle>
            <a:lvl1pPr algn="ctr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Product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53D9F0A4-74F4-4BA6-AD21-4791EF0A20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273995" y="4978400"/>
            <a:ext cx="3200400" cy="227454"/>
          </a:xfrm>
        </p:spPr>
        <p:txBody>
          <a:bodyPr anchor="b"/>
          <a:lstStyle>
            <a:lvl1pPr algn="ctr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Strategic Priorities</a:t>
            </a:r>
          </a:p>
        </p:txBody>
      </p:sp>
    </p:spTree>
    <p:extLst>
      <p:ext uri="{BB962C8B-B14F-4D97-AF65-F5344CB8AC3E}">
        <p14:creationId xmlns:p14="http://schemas.microsoft.com/office/powerpoint/2010/main" val="2600474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–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9108" y="938794"/>
            <a:ext cx="6427626" cy="1229360"/>
          </a:xfrm>
        </p:spPr>
        <p:txBody>
          <a:bodyPr wrap="square" anchor="b"/>
          <a:lstStyle>
            <a:lvl1pPr algn="l">
              <a:defRPr sz="3600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28" name="Subtitle 2">
            <a:extLst>
              <a:ext uri="{FF2B5EF4-FFF2-40B4-BE49-F238E27FC236}">
                <a16:creationId xmlns:a16="http://schemas.microsoft.com/office/drawing/2014/main" id="{6EBAFA4D-7B92-4E38-8320-94F3BCA2E41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02966" y="2267712"/>
            <a:ext cx="6408402" cy="70088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tex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E46B5F2-170B-43F3-865D-92F5CD3F3546}"/>
              </a:ext>
            </a:extLst>
          </p:cNvPr>
          <p:cNvSpPr txBox="1"/>
          <p:nvPr userDrawn="1"/>
        </p:nvSpPr>
        <p:spPr bwMode="white"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dirty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F062DFBC-6461-46E5-9A65-C2BA6B55FAA7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067657A-03A1-4F4F-AD0D-A5B15521E8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03F0FBFF-D44D-482A-B547-D551EA5D3C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9A9535C7-EA42-4FC0-BF2F-9F86B58ECC7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E775250D-8931-4334-BAE4-BDDB0695417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46FFD602-6135-4BEE-BB2A-C867FBE1FF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14A9D646-E9F0-4A52-BD9E-F04121BF45F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A919FBF8-B563-4387-B270-79EB182CF7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5B407C40-A805-4838-8B00-1B2AAC94FDCD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9428A741-FAD5-4234-862D-6AB7431CF1B6}"/>
              </a:ext>
            </a:extLst>
          </p:cNvPr>
          <p:cNvSpPr/>
          <p:nvPr userDrawn="1"/>
        </p:nvSpPr>
        <p:spPr>
          <a:xfrm rot="2700000">
            <a:off x="7247491" y="-1003602"/>
            <a:ext cx="3505682" cy="10673146"/>
          </a:xfrm>
          <a:custGeom>
            <a:avLst/>
            <a:gdLst>
              <a:gd name="connsiteX0" fmla="*/ 0 w 3505682"/>
              <a:gd name="connsiteY0" fmla="*/ 925479 h 10673146"/>
              <a:gd name="connsiteX1" fmla="*/ 925478 w 3505682"/>
              <a:gd name="connsiteY1" fmla="*/ 0 h 10673146"/>
              <a:gd name="connsiteX2" fmla="*/ 3505682 w 3505682"/>
              <a:gd name="connsiteY2" fmla="*/ 2580205 h 10673146"/>
              <a:gd name="connsiteX3" fmla="*/ 3505682 w 3505682"/>
              <a:gd name="connsiteY3" fmla="*/ 7167464 h 10673146"/>
              <a:gd name="connsiteX4" fmla="*/ 0 w 3505682"/>
              <a:gd name="connsiteY4" fmla="*/ 10673146 h 10673146"/>
              <a:gd name="connsiteX5" fmla="*/ 0 w 3505682"/>
              <a:gd name="connsiteY5" fmla="*/ 925479 h 10673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05682" h="10673146">
                <a:moveTo>
                  <a:pt x="0" y="925479"/>
                </a:moveTo>
                <a:lnTo>
                  <a:pt x="925478" y="0"/>
                </a:lnTo>
                <a:lnTo>
                  <a:pt x="3505682" y="2580205"/>
                </a:lnTo>
                <a:lnTo>
                  <a:pt x="3505682" y="7167464"/>
                </a:lnTo>
                <a:lnTo>
                  <a:pt x="0" y="10673146"/>
                </a:lnTo>
                <a:lnTo>
                  <a:pt x="0" y="925479"/>
                </a:lnTo>
                <a:close/>
              </a:path>
            </a:pathLst>
          </a:custGeom>
          <a:gradFill>
            <a:gsLst>
              <a:gs pos="24000">
                <a:schemeClr val="accent3"/>
              </a:gs>
              <a:gs pos="87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8D3A6683-B1EA-4507-96A9-030793602B44}"/>
              </a:ext>
            </a:extLst>
          </p:cNvPr>
          <p:cNvSpPr/>
          <p:nvPr userDrawn="1"/>
        </p:nvSpPr>
        <p:spPr>
          <a:xfrm rot="2700000">
            <a:off x="9753830" y="1674737"/>
            <a:ext cx="970552" cy="6485190"/>
          </a:xfrm>
          <a:custGeom>
            <a:avLst/>
            <a:gdLst>
              <a:gd name="connsiteX0" fmla="*/ 1 w 970552"/>
              <a:gd name="connsiteY0" fmla="*/ 0 h 6485190"/>
              <a:gd name="connsiteX1" fmla="*/ 970552 w 970552"/>
              <a:gd name="connsiteY1" fmla="*/ 970551 h 6485190"/>
              <a:gd name="connsiteX2" fmla="*/ 970552 w 970552"/>
              <a:gd name="connsiteY2" fmla="*/ 5514638 h 6485190"/>
              <a:gd name="connsiteX3" fmla="*/ 0 w 970552"/>
              <a:gd name="connsiteY3" fmla="*/ 6485190 h 64851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0552" h="6485190">
                <a:moveTo>
                  <a:pt x="1" y="0"/>
                </a:moveTo>
                <a:lnTo>
                  <a:pt x="970552" y="970551"/>
                </a:lnTo>
                <a:lnTo>
                  <a:pt x="970552" y="5514638"/>
                </a:lnTo>
                <a:lnTo>
                  <a:pt x="0" y="6485190"/>
                </a:lnTo>
                <a:close/>
              </a:path>
            </a:pathLst>
          </a:custGeom>
          <a:gradFill>
            <a:gsLst>
              <a:gs pos="24000">
                <a:schemeClr val="accent3"/>
              </a:gs>
              <a:gs pos="80511">
                <a:schemeClr val="bg1">
                  <a:alpha val="76000"/>
                </a:schemeClr>
              </a:gs>
              <a:gs pos="100000">
                <a:schemeClr val="bg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4415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-Bleed Photo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7F5379A2-B049-4A1C-A18D-79A1F237E82B}"/>
              </a:ext>
            </a:extLst>
          </p:cNvPr>
          <p:cNvSpPr txBox="1"/>
          <p:nvPr userDrawn="1"/>
        </p:nvSpPr>
        <p:spPr bwMode="white"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bg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82963ABA-B135-4D13-8059-831B7A9446D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1" y="6766560"/>
            <a:ext cx="12188825" cy="95225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EEA9A53D-C1B8-4AC0-AF50-F242E124EF75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A5945F4E-578F-4EE5-B98E-A75643A79F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19DCDB05-0E28-45DE-9267-3E480A2300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9C693093-F44C-4AF7-8565-38BF0EC750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83C36CFC-0A28-4E5C-BEAB-B63CE60700F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45A3F9BB-BAC6-4065-B81D-9F3DF81635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1" name="Freeform 11">
              <a:extLst>
                <a:ext uri="{FF2B5EF4-FFF2-40B4-BE49-F238E27FC236}">
                  <a16:creationId xmlns:a16="http://schemas.microsoft.com/office/drawing/2014/main" id="{2C0EF4D9-E299-4B39-8F2A-BD56CEC524B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2" name="Freeform 12">
              <a:extLst>
                <a:ext uri="{FF2B5EF4-FFF2-40B4-BE49-F238E27FC236}">
                  <a16:creationId xmlns:a16="http://schemas.microsoft.com/office/drawing/2014/main" id="{51F9A586-3983-444B-A345-4A891295D74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0566660B-2EAC-47CE-944F-D039B1DF2E0F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fidential   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©2019 VMware, Inc.</a:t>
            </a:r>
          </a:p>
        </p:txBody>
      </p:sp>
    </p:spTree>
    <p:extLst>
      <p:ext uri="{BB962C8B-B14F-4D97-AF65-F5344CB8AC3E}">
        <p14:creationId xmlns:p14="http://schemas.microsoft.com/office/powerpoint/2010/main" val="2868306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c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val 20">
            <a:extLst>
              <a:ext uri="{FF2B5EF4-FFF2-40B4-BE49-F238E27FC236}">
                <a16:creationId xmlns:a16="http://schemas.microsoft.com/office/drawing/2014/main" id="{B1C210DC-5DBB-4F0D-875F-CD8AAAB938CE}"/>
              </a:ext>
            </a:extLst>
          </p:cNvPr>
          <p:cNvSpPr/>
          <p:nvPr userDrawn="1"/>
        </p:nvSpPr>
        <p:spPr bwMode="gray">
          <a:xfrm>
            <a:off x="1981877" y="2055429"/>
            <a:ext cx="1828959" cy="1828959"/>
          </a:xfrm>
          <a:prstGeom prst="ellipse">
            <a:avLst/>
          </a:prstGeom>
          <a:solidFill>
            <a:schemeClr val="accent4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accent4"/>
              </a:solidFill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446F04B0-7860-407F-85B7-42E38FAFE34B}"/>
              </a:ext>
            </a:extLst>
          </p:cNvPr>
          <p:cNvSpPr/>
          <p:nvPr userDrawn="1"/>
        </p:nvSpPr>
        <p:spPr bwMode="gray">
          <a:xfrm>
            <a:off x="8389301" y="2055429"/>
            <a:ext cx="1828959" cy="1828959"/>
          </a:xfrm>
          <a:prstGeom prst="ellipse">
            <a:avLst/>
          </a:prstGeom>
          <a:solidFill>
            <a:schemeClr val="accent2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6FECF9D0-D7A8-43DD-B38D-E1090C0B322F}"/>
              </a:ext>
            </a:extLst>
          </p:cNvPr>
          <p:cNvSpPr/>
          <p:nvPr userDrawn="1"/>
        </p:nvSpPr>
        <p:spPr bwMode="gray">
          <a:xfrm>
            <a:off x="5184924" y="2055429"/>
            <a:ext cx="1828959" cy="1828959"/>
          </a:xfrm>
          <a:prstGeom prst="ellipse">
            <a:avLst/>
          </a:prstGeom>
          <a:solidFill>
            <a:schemeClr val="accent1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AD23688F-2550-4740-B5D6-C78F74FDE08D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4C5A99F-0678-4DC4-A266-1AD031E9C8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One Line Tit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EBF1472-E940-4CC7-B5D3-349346A425A8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CC9B40-9AF4-4EF7-8384-2ACE79EA95C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25905" y="4267940"/>
            <a:ext cx="2744788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accent4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D69CA39A-E967-4A68-A944-35C345A456D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21225" y="4267940"/>
            <a:ext cx="2744788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accent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41A16A22-350B-4B24-A3CD-4D5DE470DEE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923213" y="4267940"/>
            <a:ext cx="2744788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19336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c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Oval 83">
            <a:extLst>
              <a:ext uri="{FF2B5EF4-FFF2-40B4-BE49-F238E27FC236}">
                <a16:creationId xmlns:a16="http://schemas.microsoft.com/office/drawing/2014/main" id="{085441A7-EBA5-4ABB-8D29-CE4338F0F9B5}"/>
              </a:ext>
            </a:extLst>
          </p:cNvPr>
          <p:cNvSpPr/>
          <p:nvPr userDrawn="1"/>
        </p:nvSpPr>
        <p:spPr bwMode="gray">
          <a:xfrm>
            <a:off x="1065749" y="2060872"/>
            <a:ext cx="1828959" cy="1828959"/>
          </a:xfrm>
          <a:prstGeom prst="ellipse">
            <a:avLst/>
          </a:prstGeom>
          <a:solidFill>
            <a:schemeClr val="accent4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accent4"/>
              </a:solidFill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3019BB56-AE7C-42CA-A8FF-432F4F176B8B}"/>
              </a:ext>
            </a:extLst>
          </p:cNvPr>
          <p:cNvSpPr/>
          <p:nvPr userDrawn="1"/>
        </p:nvSpPr>
        <p:spPr bwMode="gray">
          <a:xfrm>
            <a:off x="9302132" y="2060872"/>
            <a:ext cx="1828959" cy="1828959"/>
          </a:xfrm>
          <a:prstGeom prst="ellipse">
            <a:avLst/>
          </a:prstGeom>
          <a:solidFill>
            <a:schemeClr val="accent2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5670C03F-6336-45E3-A9F4-0CD130D80D1B}"/>
              </a:ext>
            </a:extLst>
          </p:cNvPr>
          <p:cNvSpPr/>
          <p:nvPr userDrawn="1"/>
        </p:nvSpPr>
        <p:spPr bwMode="gray">
          <a:xfrm>
            <a:off x="6562100" y="2060872"/>
            <a:ext cx="1828959" cy="1828959"/>
          </a:xfrm>
          <a:prstGeom prst="ellipse">
            <a:avLst/>
          </a:prstGeom>
          <a:solidFill>
            <a:schemeClr val="accent1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45D908EF-1F96-4808-A8DB-F55AB9E8E436}"/>
              </a:ext>
            </a:extLst>
          </p:cNvPr>
          <p:cNvSpPr/>
          <p:nvPr userDrawn="1"/>
        </p:nvSpPr>
        <p:spPr bwMode="gray">
          <a:xfrm>
            <a:off x="3806932" y="2060872"/>
            <a:ext cx="1828959" cy="1828959"/>
          </a:xfrm>
          <a:prstGeom prst="ellipse">
            <a:avLst/>
          </a:prstGeom>
          <a:solidFill>
            <a:schemeClr val="accent3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0AAF357F-A1D5-401D-94D2-9C67E6AEDA09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A6ED71B-2619-4816-B753-5E850ED08F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One Line Tit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B679D5C-AEFA-4052-96E3-7DF67D7C105A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83A73281-E5F0-4C3B-BE4E-A12D56CC100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42673" y="4269508"/>
            <a:ext cx="22860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accent4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70078EAE-661A-4C72-917B-F0225239F6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79813" y="4269508"/>
            <a:ext cx="22860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accent3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566D6B40-9CB0-4B56-A3E1-9A7F945F094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23013" y="4269508"/>
            <a:ext cx="22860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accent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16F5CA9C-E491-4F70-B6EE-A506410601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66213" y="4269508"/>
            <a:ext cx="22860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226369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Ic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Oval 21">
            <a:extLst>
              <a:ext uri="{FF2B5EF4-FFF2-40B4-BE49-F238E27FC236}">
                <a16:creationId xmlns:a16="http://schemas.microsoft.com/office/drawing/2014/main" id="{A1FDF9D3-5B68-4A75-97BF-2C5113CFAA66}"/>
              </a:ext>
            </a:extLst>
          </p:cNvPr>
          <p:cNvSpPr/>
          <p:nvPr userDrawn="1"/>
        </p:nvSpPr>
        <p:spPr bwMode="gray">
          <a:xfrm>
            <a:off x="609800" y="2064663"/>
            <a:ext cx="1828959" cy="1828959"/>
          </a:xfrm>
          <a:prstGeom prst="ellipse">
            <a:avLst/>
          </a:prstGeom>
          <a:solidFill>
            <a:schemeClr val="accent4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accent4"/>
              </a:solidFill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7EAB1992-E472-4489-8A4E-A8FE45DE10CF}"/>
              </a:ext>
            </a:extLst>
          </p:cNvPr>
          <p:cNvSpPr/>
          <p:nvPr userDrawn="1"/>
        </p:nvSpPr>
        <p:spPr bwMode="gray">
          <a:xfrm>
            <a:off x="9744473" y="2064663"/>
            <a:ext cx="1828959" cy="1828959"/>
          </a:xfrm>
          <a:prstGeom prst="ellipse">
            <a:avLst/>
          </a:prstGeom>
          <a:solidFill>
            <a:schemeClr val="accent5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C551C90A-573F-4E4A-9359-5C7B0F546BF9}"/>
              </a:ext>
            </a:extLst>
          </p:cNvPr>
          <p:cNvSpPr/>
          <p:nvPr userDrawn="1"/>
        </p:nvSpPr>
        <p:spPr bwMode="gray">
          <a:xfrm>
            <a:off x="5201380" y="2064663"/>
            <a:ext cx="1828959" cy="18289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AF79E162-3D8F-4829-A4AD-02A03597B11A}"/>
              </a:ext>
            </a:extLst>
          </p:cNvPr>
          <p:cNvSpPr/>
          <p:nvPr userDrawn="1"/>
        </p:nvSpPr>
        <p:spPr bwMode="gray">
          <a:xfrm>
            <a:off x="2892452" y="2064663"/>
            <a:ext cx="1828959" cy="1828959"/>
          </a:xfrm>
          <a:prstGeom prst="ellipse">
            <a:avLst/>
          </a:prstGeom>
          <a:solidFill>
            <a:schemeClr val="accent3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026B9B36-08E7-4664-970C-13123F24C793}"/>
              </a:ext>
            </a:extLst>
          </p:cNvPr>
          <p:cNvSpPr/>
          <p:nvPr userDrawn="1"/>
        </p:nvSpPr>
        <p:spPr bwMode="gray">
          <a:xfrm>
            <a:off x="7464921" y="2064663"/>
            <a:ext cx="1828959" cy="1828959"/>
          </a:xfrm>
          <a:prstGeom prst="ellipse">
            <a:avLst/>
          </a:prstGeom>
          <a:solidFill>
            <a:schemeClr val="accent2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0E19ACAF-9401-49DF-ACFF-2BA2129506AB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BA8A47F-2243-412F-A1A8-FA8E3475F5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One Line Tit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EEA64E97-C31D-49B1-B8E1-20E5F404F516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2E201879-B985-4ADE-8AD6-6C3E14CE0AF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0850" y="4282873"/>
            <a:ext cx="18288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000">
                <a:solidFill>
                  <a:schemeClr val="accent4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600"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9495BAAB-E860-4075-9DA3-ABA7C32D235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94013" y="4282873"/>
            <a:ext cx="18288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000">
                <a:solidFill>
                  <a:schemeClr val="accent3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600"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62D3946B-F2F1-42AF-8E89-00761A7745D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85093" y="4282873"/>
            <a:ext cx="18288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000">
                <a:solidFill>
                  <a:schemeClr val="accent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600"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2F84664-2E68-46AE-AE2C-E8D2B6C9A1D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70001" y="4282873"/>
            <a:ext cx="18288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000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600"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CDC9B65E-8BAA-4676-9F32-44EC3772D34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752013" y="4282873"/>
            <a:ext cx="18288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000">
                <a:solidFill>
                  <a:schemeClr val="accent5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600"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71066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3FC38F94-115E-4DBE-80BB-680CB172F9FB}"/>
              </a:ext>
            </a:extLst>
          </p:cNvPr>
          <p:cNvSpPr/>
          <p:nvPr userDrawn="1"/>
        </p:nvSpPr>
        <p:spPr>
          <a:xfrm rot="2700000">
            <a:off x="810400" y="-3656857"/>
            <a:ext cx="9864449" cy="13468141"/>
          </a:xfrm>
          <a:custGeom>
            <a:avLst/>
            <a:gdLst>
              <a:gd name="connsiteX0" fmla="*/ 0 w 9864449"/>
              <a:gd name="connsiteY0" fmla="*/ 7314461 h 13468141"/>
              <a:gd name="connsiteX1" fmla="*/ 7314462 w 9864449"/>
              <a:gd name="connsiteY1" fmla="*/ 0 h 13468141"/>
              <a:gd name="connsiteX2" fmla="*/ 9864449 w 9864449"/>
              <a:gd name="connsiteY2" fmla="*/ 2549987 h 13468141"/>
              <a:gd name="connsiteX3" fmla="*/ 9864449 w 9864449"/>
              <a:gd name="connsiteY3" fmla="*/ 7148688 h 13468141"/>
              <a:gd name="connsiteX4" fmla="*/ 3544996 w 9864449"/>
              <a:gd name="connsiteY4" fmla="*/ 13468141 h 13468141"/>
              <a:gd name="connsiteX5" fmla="*/ 0 w 9864449"/>
              <a:gd name="connsiteY5" fmla="*/ 9923145 h 134681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864449" h="13468141">
                <a:moveTo>
                  <a:pt x="0" y="7314461"/>
                </a:moveTo>
                <a:lnTo>
                  <a:pt x="7314462" y="0"/>
                </a:lnTo>
                <a:lnTo>
                  <a:pt x="9864449" y="2549987"/>
                </a:lnTo>
                <a:lnTo>
                  <a:pt x="9864449" y="7148688"/>
                </a:lnTo>
                <a:lnTo>
                  <a:pt x="3544996" y="13468141"/>
                </a:lnTo>
                <a:lnTo>
                  <a:pt x="0" y="9923145"/>
                </a:lnTo>
                <a:close/>
              </a:path>
            </a:pathLst>
          </a:custGeom>
          <a:gradFill>
            <a:gsLst>
              <a:gs pos="0">
                <a:schemeClr val="bg1">
                  <a:alpha val="76000"/>
                </a:schemeClr>
              </a:gs>
              <a:gs pos="89000">
                <a:schemeClr val="tx1">
                  <a:lumMod val="16000"/>
                  <a:lumOff val="84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863" name="Text Placeholder 862">
            <a:extLst>
              <a:ext uri="{FF2B5EF4-FFF2-40B4-BE49-F238E27FC236}">
                <a16:creationId xmlns:a16="http://schemas.microsoft.com/office/drawing/2014/main" id="{806A8161-3A3C-4E8C-98F0-AD01607CDAE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8013" y="2057400"/>
            <a:ext cx="5943599" cy="2285999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3600"/>
            </a:lvl1pPr>
            <a:lvl2pPr marL="273050" indent="0"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512" name="TextBox 1511">
            <a:extLst>
              <a:ext uri="{FF2B5EF4-FFF2-40B4-BE49-F238E27FC236}">
                <a16:creationId xmlns:a16="http://schemas.microsoft.com/office/drawing/2014/main" id="{6C78DB77-69E8-414D-8309-EC1F1C8DCA8E}"/>
              </a:ext>
            </a:extLst>
          </p:cNvPr>
          <p:cNvSpPr txBox="1"/>
          <p:nvPr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latin typeface="+mj-lt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DA08A2D-0A8A-41FD-AA58-0A072FFF329F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3596DD11-914A-4FCB-BD5A-B452681B61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522938A5-2D76-46C8-B7C1-3F77D5812E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D6EDDC02-7874-477D-8151-D0B193E894D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11497605-B9F0-499D-9BAD-CAD4DF264DD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87A173DB-972A-49CD-B107-F84916A5F7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AA7E256D-662E-4F46-945F-75B84B1B314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745AE183-7E5A-47CA-8BC0-5071F1977EE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9C494915-7365-4D9B-82B2-73349D47E724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C5E11EA0-C34E-47CC-A1C4-C041612819E2}"/>
              </a:ext>
            </a:extLst>
          </p:cNvPr>
          <p:cNvSpPr/>
          <p:nvPr userDrawn="1"/>
        </p:nvSpPr>
        <p:spPr>
          <a:xfrm rot="2700000">
            <a:off x="9037252" y="3334944"/>
            <a:ext cx="970552" cy="4540137"/>
          </a:xfrm>
          <a:custGeom>
            <a:avLst/>
            <a:gdLst>
              <a:gd name="connsiteX0" fmla="*/ 1 w 970552"/>
              <a:gd name="connsiteY0" fmla="*/ 970551 h 4540137"/>
              <a:gd name="connsiteX1" fmla="*/ 970552 w 970552"/>
              <a:gd name="connsiteY1" fmla="*/ 0 h 4540137"/>
              <a:gd name="connsiteX2" fmla="*/ 970552 w 970552"/>
              <a:gd name="connsiteY2" fmla="*/ 3569585 h 4540137"/>
              <a:gd name="connsiteX3" fmla="*/ 0 w 970552"/>
              <a:gd name="connsiteY3" fmla="*/ 4540137 h 4540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0552" h="4540137">
                <a:moveTo>
                  <a:pt x="1" y="970551"/>
                </a:moveTo>
                <a:lnTo>
                  <a:pt x="970552" y="0"/>
                </a:lnTo>
                <a:lnTo>
                  <a:pt x="970552" y="3569585"/>
                </a:lnTo>
                <a:lnTo>
                  <a:pt x="0" y="4540137"/>
                </a:lnTo>
                <a:close/>
              </a:path>
            </a:pathLst>
          </a:custGeom>
          <a:gradFill>
            <a:gsLst>
              <a:gs pos="24000">
                <a:schemeClr val="accent4"/>
              </a:gs>
              <a:gs pos="87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0703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–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4AA04BF1-028D-4BDA-A4B7-2EF92A074224}"/>
              </a:ext>
            </a:extLst>
          </p:cNvPr>
          <p:cNvSpPr/>
          <p:nvPr userDrawn="1"/>
        </p:nvSpPr>
        <p:spPr>
          <a:xfrm rot="2700000">
            <a:off x="810400" y="-3656857"/>
            <a:ext cx="9864449" cy="13468141"/>
          </a:xfrm>
          <a:custGeom>
            <a:avLst/>
            <a:gdLst>
              <a:gd name="connsiteX0" fmla="*/ 0 w 9864449"/>
              <a:gd name="connsiteY0" fmla="*/ 7314461 h 13468141"/>
              <a:gd name="connsiteX1" fmla="*/ 7314462 w 9864449"/>
              <a:gd name="connsiteY1" fmla="*/ 0 h 13468141"/>
              <a:gd name="connsiteX2" fmla="*/ 9864449 w 9864449"/>
              <a:gd name="connsiteY2" fmla="*/ 2549987 h 13468141"/>
              <a:gd name="connsiteX3" fmla="*/ 9864449 w 9864449"/>
              <a:gd name="connsiteY3" fmla="*/ 7148688 h 13468141"/>
              <a:gd name="connsiteX4" fmla="*/ 3544996 w 9864449"/>
              <a:gd name="connsiteY4" fmla="*/ 13468141 h 13468141"/>
              <a:gd name="connsiteX5" fmla="*/ 0 w 9864449"/>
              <a:gd name="connsiteY5" fmla="*/ 9923145 h 134681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864449" h="13468141">
                <a:moveTo>
                  <a:pt x="0" y="7314461"/>
                </a:moveTo>
                <a:lnTo>
                  <a:pt x="7314462" y="0"/>
                </a:lnTo>
                <a:lnTo>
                  <a:pt x="9864449" y="2549987"/>
                </a:lnTo>
                <a:lnTo>
                  <a:pt x="9864449" y="7148688"/>
                </a:lnTo>
                <a:lnTo>
                  <a:pt x="3544996" y="13468141"/>
                </a:lnTo>
                <a:lnTo>
                  <a:pt x="0" y="9923145"/>
                </a:lnTo>
                <a:close/>
              </a:path>
            </a:pathLst>
          </a:custGeom>
          <a:gradFill>
            <a:gsLst>
              <a:gs pos="0">
                <a:schemeClr val="bg1">
                  <a:alpha val="76000"/>
                </a:schemeClr>
              </a:gs>
              <a:gs pos="89000">
                <a:schemeClr val="tx1">
                  <a:lumMod val="16000"/>
                  <a:lumOff val="84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473426A1-35AB-43B6-9A41-2142ACF3ACC4}"/>
              </a:ext>
            </a:extLst>
          </p:cNvPr>
          <p:cNvSpPr/>
          <p:nvPr userDrawn="1"/>
        </p:nvSpPr>
        <p:spPr>
          <a:xfrm rot="2700000">
            <a:off x="9037252" y="3334944"/>
            <a:ext cx="970552" cy="4540137"/>
          </a:xfrm>
          <a:custGeom>
            <a:avLst/>
            <a:gdLst>
              <a:gd name="connsiteX0" fmla="*/ 1 w 970552"/>
              <a:gd name="connsiteY0" fmla="*/ 970551 h 4540137"/>
              <a:gd name="connsiteX1" fmla="*/ 970552 w 970552"/>
              <a:gd name="connsiteY1" fmla="*/ 0 h 4540137"/>
              <a:gd name="connsiteX2" fmla="*/ 970552 w 970552"/>
              <a:gd name="connsiteY2" fmla="*/ 3569585 h 4540137"/>
              <a:gd name="connsiteX3" fmla="*/ 0 w 970552"/>
              <a:gd name="connsiteY3" fmla="*/ 4540137 h 4540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0552" h="4540137">
                <a:moveTo>
                  <a:pt x="1" y="970551"/>
                </a:moveTo>
                <a:lnTo>
                  <a:pt x="970552" y="0"/>
                </a:lnTo>
                <a:lnTo>
                  <a:pt x="970552" y="3569585"/>
                </a:lnTo>
                <a:lnTo>
                  <a:pt x="0" y="4540137"/>
                </a:lnTo>
                <a:close/>
              </a:path>
            </a:pathLst>
          </a:custGeom>
          <a:gradFill>
            <a:gsLst>
              <a:gs pos="24000">
                <a:srgbClr val="7F35AB"/>
              </a:gs>
              <a:gs pos="87000">
                <a:srgbClr val="264088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863" name="Text Placeholder 862">
            <a:extLst>
              <a:ext uri="{FF2B5EF4-FFF2-40B4-BE49-F238E27FC236}">
                <a16:creationId xmlns:a16="http://schemas.microsoft.com/office/drawing/2014/main" id="{806A8161-3A3C-4E8C-98F0-AD01607CDAE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8013" y="2057400"/>
            <a:ext cx="5943599" cy="2285999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3600"/>
            </a:lvl1pPr>
            <a:lvl2pPr marL="273050" indent="0"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512" name="TextBox 1511">
            <a:extLst>
              <a:ext uri="{FF2B5EF4-FFF2-40B4-BE49-F238E27FC236}">
                <a16:creationId xmlns:a16="http://schemas.microsoft.com/office/drawing/2014/main" id="{6C78DB77-69E8-414D-8309-EC1F1C8DCA8E}"/>
              </a:ext>
            </a:extLst>
          </p:cNvPr>
          <p:cNvSpPr txBox="1"/>
          <p:nvPr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latin typeface="+mj-lt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DA08A2D-0A8A-41FD-AA58-0A072FFF329F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3596DD11-914A-4FCB-BD5A-B452681B61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522938A5-2D76-46C8-B7C1-3F77D5812E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D6EDDC02-7874-477D-8151-D0B193E894D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11497605-B9F0-499D-9BAD-CAD4DF264DD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87A173DB-972A-49CD-B107-F84916A5F7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AA7E256D-662E-4F46-945F-75B84B1B314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745AE183-7E5A-47CA-8BC0-5071F1977EE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9C494915-7365-4D9B-82B2-73349D47E724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</p:spTree>
    <p:extLst>
      <p:ext uri="{BB962C8B-B14F-4D97-AF65-F5344CB8AC3E}">
        <p14:creationId xmlns:p14="http://schemas.microsoft.com/office/powerpoint/2010/main" val="176962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–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19A14F3E-8802-40CC-94BC-F7A8969E93E3}"/>
              </a:ext>
            </a:extLst>
          </p:cNvPr>
          <p:cNvSpPr/>
          <p:nvPr userDrawn="1"/>
        </p:nvSpPr>
        <p:spPr>
          <a:xfrm rot="2700000">
            <a:off x="810400" y="-3656857"/>
            <a:ext cx="9864449" cy="13468141"/>
          </a:xfrm>
          <a:custGeom>
            <a:avLst/>
            <a:gdLst>
              <a:gd name="connsiteX0" fmla="*/ 0 w 9864449"/>
              <a:gd name="connsiteY0" fmla="*/ 7314461 h 13468141"/>
              <a:gd name="connsiteX1" fmla="*/ 7314462 w 9864449"/>
              <a:gd name="connsiteY1" fmla="*/ 0 h 13468141"/>
              <a:gd name="connsiteX2" fmla="*/ 9864449 w 9864449"/>
              <a:gd name="connsiteY2" fmla="*/ 2549987 h 13468141"/>
              <a:gd name="connsiteX3" fmla="*/ 9864449 w 9864449"/>
              <a:gd name="connsiteY3" fmla="*/ 7148688 h 13468141"/>
              <a:gd name="connsiteX4" fmla="*/ 3544996 w 9864449"/>
              <a:gd name="connsiteY4" fmla="*/ 13468141 h 13468141"/>
              <a:gd name="connsiteX5" fmla="*/ 0 w 9864449"/>
              <a:gd name="connsiteY5" fmla="*/ 9923145 h 134681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864449" h="13468141">
                <a:moveTo>
                  <a:pt x="0" y="7314461"/>
                </a:moveTo>
                <a:lnTo>
                  <a:pt x="7314462" y="0"/>
                </a:lnTo>
                <a:lnTo>
                  <a:pt x="9864449" y="2549987"/>
                </a:lnTo>
                <a:lnTo>
                  <a:pt x="9864449" y="7148688"/>
                </a:lnTo>
                <a:lnTo>
                  <a:pt x="3544996" y="13468141"/>
                </a:lnTo>
                <a:lnTo>
                  <a:pt x="0" y="9923145"/>
                </a:lnTo>
                <a:close/>
              </a:path>
            </a:pathLst>
          </a:custGeom>
          <a:gradFill>
            <a:gsLst>
              <a:gs pos="0">
                <a:schemeClr val="bg1">
                  <a:alpha val="76000"/>
                </a:schemeClr>
              </a:gs>
              <a:gs pos="89000">
                <a:schemeClr val="tx1">
                  <a:lumMod val="16000"/>
                  <a:lumOff val="84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0CD52C01-87CF-4DAA-AF73-217E439433CA}"/>
              </a:ext>
            </a:extLst>
          </p:cNvPr>
          <p:cNvSpPr/>
          <p:nvPr userDrawn="1"/>
        </p:nvSpPr>
        <p:spPr>
          <a:xfrm rot="2700000">
            <a:off x="9037252" y="3334944"/>
            <a:ext cx="970552" cy="4540137"/>
          </a:xfrm>
          <a:custGeom>
            <a:avLst/>
            <a:gdLst>
              <a:gd name="connsiteX0" fmla="*/ 1 w 970552"/>
              <a:gd name="connsiteY0" fmla="*/ 970551 h 4540137"/>
              <a:gd name="connsiteX1" fmla="*/ 970552 w 970552"/>
              <a:gd name="connsiteY1" fmla="*/ 0 h 4540137"/>
              <a:gd name="connsiteX2" fmla="*/ 970552 w 970552"/>
              <a:gd name="connsiteY2" fmla="*/ 3569585 h 4540137"/>
              <a:gd name="connsiteX3" fmla="*/ 0 w 970552"/>
              <a:gd name="connsiteY3" fmla="*/ 4540137 h 4540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0552" h="4540137">
                <a:moveTo>
                  <a:pt x="1" y="970551"/>
                </a:moveTo>
                <a:lnTo>
                  <a:pt x="970552" y="0"/>
                </a:lnTo>
                <a:lnTo>
                  <a:pt x="970552" y="3569585"/>
                </a:lnTo>
                <a:lnTo>
                  <a:pt x="0" y="4540137"/>
                </a:lnTo>
                <a:close/>
              </a:path>
            </a:pathLst>
          </a:custGeom>
          <a:gradFill>
            <a:gsLst>
              <a:gs pos="24000">
                <a:schemeClr val="accent3"/>
              </a:gs>
              <a:gs pos="87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863" name="Text Placeholder 862">
            <a:extLst>
              <a:ext uri="{FF2B5EF4-FFF2-40B4-BE49-F238E27FC236}">
                <a16:creationId xmlns:a16="http://schemas.microsoft.com/office/drawing/2014/main" id="{806A8161-3A3C-4E8C-98F0-AD01607CDAE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8013" y="2057400"/>
            <a:ext cx="5943599" cy="2285999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3600"/>
            </a:lvl1pPr>
            <a:lvl2pPr marL="273050" indent="0"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512" name="TextBox 1511">
            <a:extLst>
              <a:ext uri="{FF2B5EF4-FFF2-40B4-BE49-F238E27FC236}">
                <a16:creationId xmlns:a16="http://schemas.microsoft.com/office/drawing/2014/main" id="{6C78DB77-69E8-414D-8309-EC1F1C8DCA8E}"/>
              </a:ext>
            </a:extLst>
          </p:cNvPr>
          <p:cNvSpPr txBox="1"/>
          <p:nvPr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latin typeface="+mj-lt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DA08A2D-0A8A-41FD-AA58-0A072FFF329F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3596DD11-914A-4FCB-BD5A-B452681B61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522938A5-2D76-46C8-B7C1-3F77D5812E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D6EDDC02-7874-477D-8151-D0B193E894D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11497605-B9F0-499D-9BAD-CAD4DF264DD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87A173DB-972A-49CD-B107-F84916A5F7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AA7E256D-662E-4F46-945F-75B84B1B314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745AE183-7E5A-47CA-8BC0-5071F1977EE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9C494915-7365-4D9B-82B2-73349D47E724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</p:spTree>
    <p:extLst>
      <p:ext uri="{BB962C8B-B14F-4D97-AF65-F5344CB8AC3E}">
        <p14:creationId xmlns:p14="http://schemas.microsoft.com/office/powerpoint/2010/main" val="1355866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with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B95FD2E6-B8EA-4366-97C4-6A53370F84D0}"/>
              </a:ext>
            </a:extLst>
          </p:cNvPr>
          <p:cNvSpPr/>
          <p:nvPr userDrawn="1"/>
        </p:nvSpPr>
        <p:spPr>
          <a:xfrm>
            <a:off x="5379720" y="-52904"/>
            <a:ext cx="6809966" cy="6821367"/>
          </a:xfrm>
          <a:custGeom>
            <a:avLst/>
            <a:gdLst>
              <a:gd name="connsiteX0" fmla="*/ 6845677 w 6846538"/>
              <a:gd name="connsiteY0" fmla="*/ 4820854 h 6858000"/>
              <a:gd name="connsiteX1" fmla="*/ 4811938 w 6846538"/>
              <a:gd name="connsiteY1" fmla="*/ 6857998 h 6858000"/>
              <a:gd name="connsiteX2" fmla="*/ 6845677 w 6846538"/>
              <a:gd name="connsiteY2" fmla="*/ 6857998 h 6858000"/>
              <a:gd name="connsiteX3" fmla="*/ 6846538 w 6846538"/>
              <a:gd name="connsiteY3" fmla="*/ 0 h 6858000"/>
              <a:gd name="connsiteX4" fmla="*/ 6846538 w 6846538"/>
              <a:gd name="connsiteY4" fmla="*/ 6858000 h 6858000"/>
              <a:gd name="connsiteX5" fmla="*/ 0 w 684653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46538" h="6858000">
                <a:moveTo>
                  <a:pt x="6845677" y="4820854"/>
                </a:moveTo>
                <a:lnTo>
                  <a:pt x="4811938" y="6857998"/>
                </a:lnTo>
                <a:lnTo>
                  <a:pt x="6845677" y="6857998"/>
                </a:lnTo>
                <a:close/>
                <a:moveTo>
                  <a:pt x="6846538" y="0"/>
                </a:moveTo>
                <a:lnTo>
                  <a:pt x="6846538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bg1">
                  <a:alpha val="76000"/>
                </a:schemeClr>
              </a:gs>
              <a:gs pos="89000">
                <a:schemeClr val="tx1">
                  <a:lumMod val="16000"/>
                  <a:lumOff val="84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774" name="TextBox 773">
            <a:extLst>
              <a:ext uri="{FF2B5EF4-FFF2-40B4-BE49-F238E27FC236}">
                <a16:creationId xmlns:a16="http://schemas.microsoft.com/office/drawing/2014/main" id="{BC2C04F8-C4D0-4DA4-8689-3A3303F0660F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latin typeface="+mj-lt"/>
            </a:endParaRPr>
          </a:p>
        </p:txBody>
      </p:sp>
      <p:sp>
        <p:nvSpPr>
          <p:cNvPr id="2147" name="Oval 2146">
            <a:extLst>
              <a:ext uri="{FF2B5EF4-FFF2-40B4-BE49-F238E27FC236}">
                <a16:creationId xmlns:a16="http://schemas.microsoft.com/office/drawing/2014/main" id="{FDDA58E5-A99B-48C0-A6B7-6BAE32E46F62}"/>
              </a:ext>
            </a:extLst>
          </p:cNvPr>
          <p:cNvSpPr/>
          <p:nvPr userDrawn="1"/>
        </p:nvSpPr>
        <p:spPr bwMode="gray">
          <a:xfrm>
            <a:off x="7273815" y="1515193"/>
            <a:ext cx="3735912" cy="3735912"/>
          </a:xfrm>
          <a:prstGeom prst="ellipse">
            <a:avLst/>
          </a:prstGeom>
          <a:solidFill>
            <a:schemeClr val="accent1"/>
          </a:solidFill>
          <a:ln w="76200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60325" lvl="0" algn="ctr">
              <a:spcAft>
                <a:spcPts val="800"/>
              </a:spcAft>
            </a:pPr>
            <a:endParaRPr lang="en-US" sz="1400" kern="0"/>
          </a:p>
        </p:txBody>
      </p:sp>
      <p:sp>
        <p:nvSpPr>
          <p:cNvPr id="18" name="Text Placeholder 862">
            <a:extLst>
              <a:ext uri="{FF2B5EF4-FFF2-40B4-BE49-F238E27FC236}">
                <a16:creationId xmlns:a16="http://schemas.microsoft.com/office/drawing/2014/main" id="{E56855D3-D3B3-4208-ADBF-9790190F0A6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8014" y="2514600"/>
            <a:ext cx="5485844" cy="1828799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3600"/>
            </a:lvl1pPr>
            <a:lvl2pPr marL="273050" indent="0"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614806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with Icon –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904AD3C8-5B0F-4AB1-B568-AA55FF64194A}"/>
              </a:ext>
            </a:extLst>
          </p:cNvPr>
          <p:cNvSpPr/>
          <p:nvPr userDrawn="1"/>
        </p:nvSpPr>
        <p:spPr>
          <a:xfrm>
            <a:off x="5379720" y="-52904"/>
            <a:ext cx="6809966" cy="6821367"/>
          </a:xfrm>
          <a:custGeom>
            <a:avLst/>
            <a:gdLst>
              <a:gd name="connsiteX0" fmla="*/ 6845677 w 6846538"/>
              <a:gd name="connsiteY0" fmla="*/ 4820854 h 6858000"/>
              <a:gd name="connsiteX1" fmla="*/ 4811938 w 6846538"/>
              <a:gd name="connsiteY1" fmla="*/ 6857998 h 6858000"/>
              <a:gd name="connsiteX2" fmla="*/ 6845677 w 6846538"/>
              <a:gd name="connsiteY2" fmla="*/ 6857998 h 6858000"/>
              <a:gd name="connsiteX3" fmla="*/ 6846538 w 6846538"/>
              <a:gd name="connsiteY3" fmla="*/ 0 h 6858000"/>
              <a:gd name="connsiteX4" fmla="*/ 6846538 w 6846538"/>
              <a:gd name="connsiteY4" fmla="*/ 6858000 h 6858000"/>
              <a:gd name="connsiteX5" fmla="*/ 0 w 684653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46538" h="6858000">
                <a:moveTo>
                  <a:pt x="6845677" y="4820854"/>
                </a:moveTo>
                <a:lnTo>
                  <a:pt x="4811938" y="6857998"/>
                </a:lnTo>
                <a:lnTo>
                  <a:pt x="6845677" y="6857998"/>
                </a:lnTo>
                <a:close/>
                <a:moveTo>
                  <a:pt x="6846538" y="0"/>
                </a:moveTo>
                <a:lnTo>
                  <a:pt x="6846538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bg1">
                  <a:alpha val="76000"/>
                </a:schemeClr>
              </a:gs>
              <a:gs pos="89000">
                <a:schemeClr val="tx1">
                  <a:lumMod val="16000"/>
                  <a:lumOff val="84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774" name="TextBox 773">
            <a:extLst>
              <a:ext uri="{FF2B5EF4-FFF2-40B4-BE49-F238E27FC236}">
                <a16:creationId xmlns:a16="http://schemas.microsoft.com/office/drawing/2014/main" id="{BC2C04F8-C4D0-4DA4-8689-3A3303F0660F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latin typeface="+mj-lt"/>
            </a:endParaRPr>
          </a:p>
        </p:txBody>
      </p:sp>
      <p:sp>
        <p:nvSpPr>
          <p:cNvPr id="2147" name="Oval 2146">
            <a:extLst>
              <a:ext uri="{FF2B5EF4-FFF2-40B4-BE49-F238E27FC236}">
                <a16:creationId xmlns:a16="http://schemas.microsoft.com/office/drawing/2014/main" id="{FDDA58E5-A99B-48C0-A6B7-6BAE32E46F62}"/>
              </a:ext>
            </a:extLst>
          </p:cNvPr>
          <p:cNvSpPr/>
          <p:nvPr userDrawn="1"/>
        </p:nvSpPr>
        <p:spPr bwMode="gray">
          <a:xfrm rot="10800000">
            <a:off x="7273815" y="1515193"/>
            <a:ext cx="3735912" cy="3735912"/>
          </a:xfrm>
          <a:prstGeom prst="ellipse">
            <a:avLst/>
          </a:prstGeom>
          <a:solidFill>
            <a:schemeClr val="accent4"/>
          </a:solidFill>
          <a:ln w="76200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60325" lvl="0" algn="ctr">
              <a:spcAft>
                <a:spcPts val="800"/>
              </a:spcAft>
            </a:pPr>
            <a:endParaRPr lang="en-US" sz="1400" kern="0"/>
          </a:p>
        </p:txBody>
      </p:sp>
      <p:sp>
        <p:nvSpPr>
          <p:cNvPr id="18" name="Text Placeholder 862">
            <a:extLst>
              <a:ext uri="{FF2B5EF4-FFF2-40B4-BE49-F238E27FC236}">
                <a16:creationId xmlns:a16="http://schemas.microsoft.com/office/drawing/2014/main" id="{E56855D3-D3B3-4208-ADBF-9790190F0A6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8014" y="2514600"/>
            <a:ext cx="5485844" cy="1828799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3600"/>
            </a:lvl1pPr>
            <a:lvl2pPr marL="273050" indent="0"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909721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with Icon –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8E49745E-959E-424E-B5AD-B75ACA32BFE8}"/>
              </a:ext>
            </a:extLst>
          </p:cNvPr>
          <p:cNvSpPr/>
          <p:nvPr userDrawn="1"/>
        </p:nvSpPr>
        <p:spPr>
          <a:xfrm>
            <a:off x="5379720" y="-52904"/>
            <a:ext cx="6809966" cy="6821367"/>
          </a:xfrm>
          <a:custGeom>
            <a:avLst/>
            <a:gdLst>
              <a:gd name="connsiteX0" fmla="*/ 6845677 w 6846538"/>
              <a:gd name="connsiteY0" fmla="*/ 4820854 h 6858000"/>
              <a:gd name="connsiteX1" fmla="*/ 4811938 w 6846538"/>
              <a:gd name="connsiteY1" fmla="*/ 6857998 h 6858000"/>
              <a:gd name="connsiteX2" fmla="*/ 6845677 w 6846538"/>
              <a:gd name="connsiteY2" fmla="*/ 6857998 h 6858000"/>
              <a:gd name="connsiteX3" fmla="*/ 6846538 w 6846538"/>
              <a:gd name="connsiteY3" fmla="*/ 0 h 6858000"/>
              <a:gd name="connsiteX4" fmla="*/ 6846538 w 6846538"/>
              <a:gd name="connsiteY4" fmla="*/ 6858000 h 6858000"/>
              <a:gd name="connsiteX5" fmla="*/ 0 w 684653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46538" h="6858000">
                <a:moveTo>
                  <a:pt x="6845677" y="4820854"/>
                </a:moveTo>
                <a:lnTo>
                  <a:pt x="4811938" y="6857998"/>
                </a:lnTo>
                <a:lnTo>
                  <a:pt x="6845677" y="6857998"/>
                </a:lnTo>
                <a:close/>
                <a:moveTo>
                  <a:pt x="6846538" y="0"/>
                </a:moveTo>
                <a:lnTo>
                  <a:pt x="6846538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bg1">
                  <a:alpha val="76000"/>
                </a:schemeClr>
              </a:gs>
              <a:gs pos="89000">
                <a:schemeClr val="tx1">
                  <a:lumMod val="16000"/>
                  <a:lumOff val="84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774" name="TextBox 773">
            <a:extLst>
              <a:ext uri="{FF2B5EF4-FFF2-40B4-BE49-F238E27FC236}">
                <a16:creationId xmlns:a16="http://schemas.microsoft.com/office/drawing/2014/main" id="{BC2C04F8-C4D0-4DA4-8689-3A3303F0660F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latin typeface="+mj-lt"/>
            </a:endParaRPr>
          </a:p>
        </p:txBody>
      </p:sp>
      <p:sp>
        <p:nvSpPr>
          <p:cNvPr id="2147" name="Oval 2146">
            <a:extLst>
              <a:ext uri="{FF2B5EF4-FFF2-40B4-BE49-F238E27FC236}">
                <a16:creationId xmlns:a16="http://schemas.microsoft.com/office/drawing/2014/main" id="{FDDA58E5-A99B-48C0-A6B7-6BAE32E46F62}"/>
              </a:ext>
            </a:extLst>
          </p:cNvPr>
          <p:cNvSpPr/>
          <p:nvPr userDrawn="1"/>
        </p:nvSpPr>
        <p:spPr bwMode="gray">
          <a:xfrm>
            <a:off x="7273815" y="1515193"/>
            <a:ext cx="3735912" cy="3735912"/>
          </a:xfrm>
          <a:prstGeom prst="ellipse">
            <a:avLst/>
          </a:prstGeom>
          <a:solidFill>
            <a:schemeClr val="accent5"/>
          </a:solidFill>
          <a:ln w="76200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60325" lvl="0" algn="ctr">
              <a:spcAft>
                <a:spcPts val="800"/>
              </a:spcAft>
            </a:pPr>
            <a:endParaRPr lang="en-US" sz="1400" kern="0"/>
          </a:p>
        </p:txBody>
      </p:sp>
      <p:sp>
        <p:nvSpPr>
          <p:cNvPr id="18" name="Text Placeholder 862">
            <a:extLst>
              <a:ext uri="{FF2B5EF4-FFF2-40B4-BE49-F238E27FC236}">
                <a16:creationId xmlns:a16="http://schemas.microsoft.com/office/drawing/2014/main" id="{E56855D3-D3B3-4208-ADBF-9790190F0A6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8014" y="2514600"/>
            <a:ext cx="5485844" cy="1828799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3600"/>
            </a:lvl1pPr>
            <a:lvl2pPr marL="273050" indent="0"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975277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89834265-B4D7-4504-9C1C-C962DD96E4D9}"/>
              </a:ext>
            </a:extLst>
          </p:cNvPr>
          <p:cNvSpPr/>
          <p:nvPr userDrawn="1"/>
        </p:nvSpPr>
        <p:spPr>
          <a:xfrm rot="2700000">
            <a:off x="1156507" y="-4493128"/>
            <a:ext cx="7499811" cy="13467847"/>
          </a:xfrm>
          <a:custGeom>
            <a:avLst/>
            <a:gdLst>
              <a:gd name="connsiteX0" fmla="*/ 0 w 7499811"/>
              <a:gd name="connsiteY0" fmla="*/ 7314868 h 13467847"/>
              <a:gd name="connsiteX1" fmla="*/ 7314868 w 7499811"/>
              <a:gd name="connsiteY1" fmla="*/ 0 h 13467847"/>
              <a:gd name="connsiteX2" fmla="*/ 7499811 w 7499811"/>
              <a:gd name="connsiteY2" fmla="*/ 184942 h 13467847"/>
              <a:gd name="connsiteX3" fmla="*/ 7499811 w 7499811"/>
              <a:gd name="connsiteY3" fmla="*/ 9513150 h 13467847"/>
              <a:gd name="connsiteX4" fmla="*/ 3545114 w 7499811"/>
              <a:gd name="connsiteY4" fmla="*/ 13467847 h 13467847"/>
              <a:gd name="connsiteX5" fmla="*/ 0 w 7499811"/>
              <a:gd name="connsiteY5" fmla="*/ 9922733 h 13467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9811" h="13467847">
                <a:moveTo>
                  <a:pt x="0" y="7314868"/>
                </a:moveTo>
                <a:lnTo>
                  <a:pt x="7314868" y="0"/>
                </a:lnTo>
                <a:lnTo>
                  <a:pt x="7499811" y="184942"/>
                </a:lnTo>
                <a:lnTo>
                  <a:pt x="7499811" y="9513150"/>
                </a:lnTo>
                <a:lnTo>
                  <a:pt x="3545114" y="13467847"/>
                </a:lnTo>
                <a:lnTo>
                  <a:pt x="0" y="9922733"/>
                </a:lnTo>
                <a:close/>
              </a:path>
            </a:pathLst>
          </a:custGeom>
          <a:gradFill>
            <a:gsLst>
              <a:gs pos="24000">
                <a:schemeClr val="accent4"/>
              </a:gs>
              <a:gs pos="87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12F29CAF-76E7-4387-BEA8-66F482EB65A2}"/>
              </a:ext>
            </a:extLst>
          </p:cNvPr>
          <p:cNvSpPr/>
          <p:nvPr userDrawn="1"/>
        </p:nvSpPr>
        <p:spPr>
          <a:xfrm rot="2700000">
            <a:off x="7032715" y="-169135"/>
            <a:ext cx="1042026" cy="8663939"/>
          </a:xfrm>
          <a:custGeom>
            <a:avLst/>
            <a:gdLst>
              <a:gd name="connsiteX0" fmla="*/ 0 w 1042026"/>
              <a:gd name="connsiteY0" fmla="*/ 0 h 8663939"/>
              <a:gd name="connsiteX1" fmla="*/ 1042026 w 1042026"/>
              <a:gd name="connsiteY1" fmla="*/ 0 h 8663939"/>
              <a:gd name="connsiteX2" fmla="*/ 1042026 w 1042026"/>
              <a:gd name="connsiteY2" fmla="*/ 7621913 h 8663939"/>
              <a:gd name="connsiteX3" fmla="*/ 0 w 1042026"/>
              <a:gd name="connsiteY3" fmla="*/ 8663939 h 86639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2026" h="8663939">
                <a:moveTo>
                  <a:pt x="0" y="0"/>
                </a:moveTo>
                <a:lnTo>
                  <a:pt x="1042026" y="0"/>
                </a:lnTo>
                <a:lnTo>
                  <a:pt x="1042026" y="7621913"/>
                </a:lnTo>
                <a:lnTo>
                  <a:pt x="0" y="8663939"/>
                </a:lnTo>
                <a:close/>
              </a:path>
            </a:pathLst>
          </a:custGeom>
          <a:gradFill>
            <a:gsLst>
              <a:gs pos="94000">
                <a:schemeClr val="bg1"/>
              </a:gs>
              <a:gs pos="26000">
                <a:schemeClr val="accent4"/>
              </a:gs>
              <a:gs pos="76000">
                <a:schemeClr val="bg1">
                  <a:alpha val="91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48347C3-DAFD-4322-8B75-FAADCB97A100}"/>
              </a:ext>
            </a:extLst>
          </p:cNvPr>
          <p:cNvSpPr txBox="1"/>
          <p:nvPr userDrawn="1"/>
        </p:nvSpPr>
        <p:spPr bwMode="white"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dirty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A840448-0A4C-4F83-A1CE-7B630AF6D91D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33BBD7F2-6BDB-40F5-BE43-2E5C642F40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1898F8B4-B178-4326-B6D0-C409F52A5D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04FAC758-8579-4948-8E17-F881282AF52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9BC37D6E-0610-40BC-A869-ED4C24F40DA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id="{0AD2EDE2-8C04-4779-942A-CD00356199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id="{B9B95322-EB86-42B6-BCDB-3C38F71CED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32" name="Freeform 12">
              <a:extLst>
                <a:ext uri="{FF2B5EF4-FFF2-40B4-BE49-F238E27FC236}">
                  <a16:creationId xmlns:a16="http://schemas.microsoft.com/office/drawing/2014/main" id="{20532F85-7A34-4927-9486-A847F29CF7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10DCB4EB-8A9B-485D-A968-34B397B482C3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fidential   </a:t>
            </a: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©2019 VMware, Inc.</a:t>
            </a:r>
          </a:p>
        </p:txBody>
      </p:sp>
      <p:sp>
        <p:nvSpPr>
          <p:cNvPr id="41" name="Picture Placeholder 184">
            <a:extLst>
              <a:ext uri="{FF2B5EF4-FFF2-40B4-BE49-F238E27FC236}">
                <a16:creationId xmlns:a16="http://schemas.microsoft.com/office/drawing/2014/main" id="{997DC603-F304-4357-BF7F-19215EB70C5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523151" y="4619335"/>
            <a:ext cx="2740025" cy="1371600"/>
          </a:xfrm>
          <a:noFill/>
        </p:spPr>
        <p:txBody>
          <a:bodyPr anchor="ctr"/>
          <a:lstStyle>
            <a:lvl1pPr algn="ctr">
              <a:defRPr sz="2400" b="1">
                <a:solidFill>
                  <a:srgbClr val="F8981D"/>
                </a:solidFill>
              </a:defRPr>
            </a:lvl1pPr>
          </a:lstStyle>
          <a:p>
            <a:r>
              <a:rPr lang="en-US" dirty="0"/>
              <a:t>Click to insert logo or delete box if not needed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6C21BA7-C6D2-446E-8FD2-266107E90C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8912" y="1600200"/>
            <a:ext cx="5413248" cy="3200400"/>
          </a:xfrm>
        </p:spPr>
        <p:txBody>
          <a:bodyPr anchor="b"/>
          <a:lstStyle>
            <a:lvl1pPr marL="169863" indent="-169863">
              <a:buClrTx/>
              <a:buSzPct val="100000"/>
              <a:buFont typeface="Metropolis" panose="00000500000000000000" pitchFamily="2" charset="0"/>
              <a:buChar char="“"/>
              <a:defRPr sz="2800">
                <a:solidFill>
                  <a:schemeClr val="bg1"/>
                </a:solidFill>
              </a:defRPr>
            </a:lvl1pPr>
            <a:lvl2pPr marL="457200" indent="-184150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2pPr>
            <a:lvl3pPr marL="744538" indent="-16986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3pPr>
            <a:lvl4pPr marL="969963" indent="-166688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4pPr>
            <a:lvl5pPr marL="1143000" indent="-13811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762CBDD-60C2-443D-88B5-C596896049D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648" y="5065776"/>
            <a:ext cx="4581144" cy="274320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 Name</a:t>
            </a:r>
          </a:p>
        </p:txBody>
      </p:sp>
    </p:spTree>
    <p:extLst>
      <p:ext uri="{BB962C8B-B14F-4D97-AF65-F5344CB8AC3E}">
        <p14:creationId xmlns:p14="http://schemas.microsoft.com/office/powerpoint/2010/main" val="1613511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5DD6E7D-B875-48DF-B6A8-450BD6AE171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785688" y="0"/>
            <a:ext cx="5403138" cy="6764798"/>
          </a:xfrm>
        </p:spPr>
        <p:txBody>
          <a:bodyPr lIns="640080" tIns="0" rIns="640080" anchor="ctr"/>
          <a:lstStyle>
            <a:lvl1pPr algn="ctr">
              <a:defRPr/>
            </a:lvl1pPr>
          </a:lstStyle>
          <a:p>
            <a:r>
              <a:rPr lang="en-US"/>
              <a:t>Click on the icon to insert a picture from your computer</a:t>
            </a:r>
          </a:p>
        </p:txBody>
      </p:sp>
      <p:sp>
        <p:nvSpPr>
          <p:cNvPr id="17" name="Text Placeholder 862">
            <a:extLst>
              <a:ext uri="{FF2B5EF4-FFF2-40B4-BE49-F238E27FC236}">
                <a16:creationId xmlns:a16="http://schemas.microsoft.com/office/drawing/2014/main" id="{C8F55BC8-3E55-49EB-BF20-18EB4F7F597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8014" y="2514600"/>
            <a:ext cx="5485844" cy="1828799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3600"/>
            </a:lvl1pPr>
            <a:lvl2pPr marL="273050" indent="0"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A6E1A1B-7C56-4DE3-BC90-B387C7F3E670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331214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ist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0F1D41E-848B-4178-A0D2-2A18C6921400}"/>
              </a:ext>
            </a:extLst>
          </p:cNvPr>
          <p:cNvSpPr/>
          <p:nvPr userDrawn="1"/>
        </p:nvSpPr>
        <p:spPr bwMode="hidden">
          <a:xfrm>
            <a:off x="0" y="0"/>
            <a:ext cx="12188822" cy="4332288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1ED419A-30D8-44AB-9256-156B54D449CD}"/>
              </a:ext>
            </a:extLst>
          </p:cNvPr>
          <p:cNvSpPr/>
          <p:nvPr userDrawn="1"/>
        </p:nvSpPr>
        <p:spPr bwMode="white">
          <a:xfrm>
            <a:off x="672527" y="722997"/>
            <a:ext cx="4470400" cy="4470400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E4BDA96F-134D-4855-8751-F1043ABF3B4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00" y="2514599"/>
            <a:ext cx="5027613" cy="1371601"/>
          </a:xfrm>
        </p:spPr>
        <p:txBody>
          <a:bodyPr anchor="ctr"/>
          <a:lstStyle>
            <a:lvl1pPr>
              <a:spcBef>
                <a:spcPts val="0"/>
              </a:spcBef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3" name="Chart Placeholder 22">
            <a:extLst>
              <a:ext uri="{FF2B5EF4-FFF2-40B4-BE49-F238E27FC236}">
                <a16:creationId xmlns:a16="http://schemas.microsoft.com/office/drawing/2014/main" id="{4093E53D-7586-4113-99BD-F45F1343692F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662672" y="722997"/>
            <a:ext cx="4480256" cy="448025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insert a </a:t>
            </a:r>
            <a:br>
              <a:rPr lang="en-US"/>
            </a:br>
            <a:r>
              <a:rPr lang="en-US"/>
              <a:t>Doughnut char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C4F4198-4BE0-4282-8B86-20DED598DC1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8330" y="5507147"/>
            <a:ext cx="1371064" cy="423862"/>
          </a:xfrm>
        </p:spPr>
        <p:txBody>
          <a:bodyPr/>
          <a:lstStyle>
            <a:lvl1pPr algn="l">
              <a:defRPr sz="12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0" name="Text Placeholder 12">
            <a:extLst>
              <a:ext uri="{FF2B5EF4-FFF2-40B4-BE49-F238E27FC236}">
                <a16:creationId xmlns:a16="http://schemas.microsoft.com/office/drawing/2014/main" id="{4B5F4E67-F2E8-4777-B495-668C321DCBA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436416" y="5507147"/>
            <a:ext cx="1371064" cy="423862"/>
          </a:xfrm>
        </p:spPr>
        <p:txBody>
          <a:bodyPr/>
          <a:lstStyle>
            <a:lvl1pPr algn="l">
              <a:defRPr sz="12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1" name="Text Placeholder 12">
            <a:extLst>
              <a:ext uri="{FF2B5EF4-FFF2-40B4-BE49-F238E27FC236}">
                <a16:creationId xmlns:a16="http://schemas.microsoft.com/office/drawing/2014/main" id="{704846F3-64ED-4181-8AEC-68B9734DA96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261103" y="5507147"/>
            <a:ext cx="1371064" cy="423862"/>
          </a:xfrm>
        </p:spPr>
        <p:txBody>
          <a:bodyPr/>
          <a:lstStyle>
            <a:lvl1pPr algn="l">
              <a:defRPr sz="12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2" name="Text Placeholder 12">
            <a:extLst>
              <a:ext uri="{FF2B5EF4-FFF2-40B4-BE49-F238E27FC236}">
                <a16:creationId xmlns:a16="http://schemas.microsoft.com/office/drawing/2014/main" id="{DD17F439-D919-44B7-889F-96A1DAF172D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88109" y="5507147"/>
            <a:ext cx="1371064" cy="423862"/>
          </a:xfrm>
        </p:spPr>
        <p:txBody>
          <a:bodyPr/>
          <a:lstStyle>
            <a:lvl1pPr algn="l">
              <a:defRPr sz="1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3" name="Text Placeholder 12">
            <a:extLst>
              <a:ext uri="{FF2B5EF4-FFF2-40B4-BE49-F238E27FC236}">
                <a16:creationId xmlns:a16="http://schemas.microsoft.com/office/drawing/2014/main" id="{0DA74846-CC03-44FE-9AE5-4975E808F8A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920672" y="5507147"/>
            <a:ext cx="1371064" cy="423862"/>
          </a:xfrm>
        </p:spPr>
        <p:txBody>
          <a:bodyPr/>
          <a:lstStyle>
            <a:lvl1pPr algn="l"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4" name="Text Placeholder 12">
            <a:extLst>
              <a:ext uri="{FF2B5EF4-FFF2-40B4-BE49-F238E27FC236}">
                <a16:creationId xmlns:a16="http://schemas.microsoft.com/office/drawing/2014/main" id="{EB51A67B-FBDC-4AB8-B81A-6B6B96D04F4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750028" y="5507147"/>
            <a:ext cx="1371064" cy="423862"/>
          </a:xfrm>
        </p:spPr>
        <p:txBody>
          <a:bodyPr/>
          <a:lstStyle>
            <a:lvl1pPr algn="l">
              <a:defRPr sz="12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6C03ACE7-B591-43FD-A636-47D01F482F04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19763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55025D71-18A5-4A22-8386-917E1B08C46A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803518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/ 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A88A8ACB-CBE3-4DC0-BBE3-C6829C462CD7}"/>
              </a:ext>
            </a:extLst>
          </p:cNvPr>
          <p:cNvSpPr/>
          <p:nvPr userDrawn="1"/>
        </p:nvSpPr>
        <p:spPr>
          <a:xfrm rot="2700000">
            <a:off x="500103" y="-2250712"/>
            <a:ext cx="2891746" cy="8395793"/>
          </a:xfrm>
          <a:custGeom>
            <a:avLst/>
            <a:gdLst>
              <a:gd name="connsiteX0" fmla="*/ 0 w 2891746"/>
              <a:gd name="connsiteY0" fmla="*/ 2890035 h 8395793"/>
              <a:gd name="connsiteX1" fmla="*/ 1390389 w 2891746"/>
              <a:gd name="connsiteY1" fmla="*/ 1499646 h 8395793"/>
              <a:gd name="connsiteX2" fmla="*/ 1390389 w 2891746"/>
              <a:gd name="connsiteY2" fmla="*/ 1499646 h 8395793"/>
              <a:gd name="connsiteX3" fmla="*/ 2890036 w 2891746"/>
              <a:gd name="connsiteY3" fmla="*/ 0 h 8395793"/>
              <a:gd name="connsiteX4" fmla="*/ 2890036 w 2891746"/>
              <a:gd name="connsiteY4" fmla="*/ 8322767 h 8395793"/>
              <a:gd name="connsiteX5" fmla="*/ 2891746 w 2891746"/>
              <a:gd name="connsiteY5" fmla="*/ 8340727 h 8395793"/>
              <a:gd name="connsiteX6" fmla="*/ 2891741 w 2891746"/>
              <a:gd name="connsiteY6" fmla="*/ 8395793 h 8395793"/>
              <a:gd name="connsiteX7" fmla="*/ 2546313 w 2891746"/>
              <a:gd name="connsiteY7" fmla="*/ 8050365 h 8395793"/>
              <a:gd name="connsiteX8" fmla="*/ 2546315 w 2891746"/>
              <a:gd name="connsiteY8" fmla="*/ 8050364 h 8395793"/>
              <a:gd name="connsiteX9" fmla="*/ 0 w 2891746"/>
              <a:gd name="connsiteY9" fmla="*/ 5504049 h 83957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891746" h="8395793">
                <a:moveTo>
                  <a:pt x="0" y="2890035"/>
                </a:moveTo>
                <a:lnTo>
                  <a:pt x="1390389" y="1499646"/>
                </a:lnTo>
                <a:lnTo>
                  <a:pt x="1390389" y="1499646"/>
                </a:lnTo>
                <a:lnTo>
                  <a:pt x="2890036" y="0"/>
                </a:lnTo>
                <a:lnTo>
                  <a:pt x="2890036" y="8322767"/>
                </a:lnTo>
                <a:lnTo>
                  <a:pt x="2891746" y="8340727"/>
                </a:lnTo>
                <a:lnTo>
                  <a:pt x="2891741" y="8395793"/>
                </a:lnTo>
                <a:lnTo>
                  <a:pt x="2546313" y="8050365"/>
                </a:lnTo>
                <a:lnTo>
                  <a:pt x="2546315" y="8050364"/>
                </a:lnTo>
                <a:lnTo>
                  <a:pt x="0" y="5504049"/>
                </a:lnTo>
                <a:close/>
              </a:path>
            </a:pathLst>
          </a:custGeom>
          <a:gradFill>
            <a:gsLst>
              <a:gs pos="24000">
                <a:schemeClr val="accent4"/>
              </a:gs>
              <a:gs pos="100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5B87096-C8D7-45D0-8DCC-218276F547CC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tx1"/>
          </a:solidFill>
        </p:grpSpPr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FAC0FC71-A82A-4369-B44E-4E8FF53CA1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0D84D398-3251-432F-8986-05570D3BB8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07096BFD-803A-42D4-BA19-C683E35B0D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089E6840-6882-4279-A152-16C7CCB9BE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021DF59C-D6C9-4EC0-90A3-7752F6B722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E4C478B3-2ECE-440E-A04E-B8C84D0416E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2190CFD5-6EEA-46D1-AE5E-D69C2E08F3D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D479A9FB-8CEE-475F-BF22-3B0B11EB4E81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52F598B-F734-42BE-8CB8-5E3FDDD7ED52}"/>
              </a:ext>
            </a:extLst>
          </p:cNvPr>
          <p:cNvSpPr txBox="1"/>
          <p:nvPr userDrawn="1"/>
        </p:nvSpPr>
        <p:spPr>
          <a:xfrm>
            <a:off x="7122912" y="4133697"/>
            <a:ext cx="3585557" cy="69249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r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en-US" sz="5000" b="0" kern="1200" cap="none" baseline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t>Thank You</a:t>
            </a: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5B8D218C-9E1A-4E8B-A343-F3F3A628E78E}"/>
              </a:ext>
            </a:extLst>
          </p:cNvPr>
          <p:cNvSpPr/>
          <p:nvPr userDrawn="1"/>
        </p:nvSpPr>
        <p:spPr>
          <a:xfrm rot="18900000">
            <a:off x="-1253438" y="2913755"/>
            <a:ext cx="6372785" cy="905566"/>
          </a:xfrm>
          <a:custGeom>
            <a:avLst/>
            <a:gdLst>
              <a:gd name="connsiteX0" fmla="*/ 6372785 w 6372785"/>
              <a:gd name="connsiteY0" fmla="*/ 0 h 905566"/>
              <a:gd name="connsiteX1" fmla="*/ 6372785 w 6372785"/>
              <a:gd name="connsiteY1" fmla="*/ 905566 h 905566"/>
              <a:gd name="connsiteX2" fmla="*/ 0 w 6372785"/>
              <a:gd name="connsiteY2" fmla="*/ 905566 h 905566"/>
              <a:gd name="connsiteX3" fmla="*/ 905566 w 6372785"/>
              <a:gd name="connsiteY3" fmla="*/ 0 h 9055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72785" h="905566">
                <a:moveTo>
                  <a:pt x="6372785" y="0"/>
                </a:moveTo>
                <a:lnTo>
                  <a:pt x="6372785" y="905566"/>
                </a:lnTo>
                <a:lnTo>
                  <a:pt x="0" y="905566"/>
                </a:lnTo>
                <a:lnTo>
                  <a:pt x="905566" y="0"/>
                </a:lnTo>
                <a:close/>
              </a:path>
            </a:pathLst>
          </a:custGeom>
          <a:gradFill>
            <a:gsLst>
              <a:gs pos="94000">
                <a:schemeClr val="bg1"/>
              </a:gs>
              <a:gs pos="16000">
                <a:schemeClr val="accent4"/>
              </a:gs>
              <a:gs pos="76000">
                <a:schemeClr val="bg1">
                  <a:alpha val="91000"/>
                </a:schemeClr>
              </a:gs>
            </a:gsLst>
            <a:lin ang="7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4095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/ Closing –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171CD93A-658C-4473-839D-9C0B5E8F5F7C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CDFBF2D3-5C06-47C4-A81C-0305B322C5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464D7FA4-CABA-4E4E-ACCA-68953799CF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4EB1261E-CBF9-4479-A018-76C0F24D3B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8C4A243B-FBF5-4C04-8CD0-8E1C4721D9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F67E765D-8E8B-44F9-BE70-63FC0512FD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1B4614B4-F94A-4053-B179-EC5C3F70A9E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E157F005-56AC-4E75-8AA5-582D0D69E2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9473A8DE-DD1F-43EE-8FA2-4C689A038BA5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1594E1E-E234-471D-B539-F75E8CC06D07}"/>
              </a:ext>
            </a:extLst>
          </p:cNvPr>
          <p:cNvSpPr txBox="1"/>
          <p:nvPr userDrawn="1"/>
        </p:nvSpPr>
        <p:spPr>
          <a:xfrm>
            <a:off x="7122912" y="4133697"/>
            <a:ext cx="3585557" cy="69249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r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en-US" sz="5000" b="0" kern="1200" cap="none" baseline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t>Thank You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4C67E5CD-C662-462D-9821-CBF45A809F13}"/>
              </a:ext>
            </a:extLst>
          </p:cNvPr>
          <p:cNvSpPr/>
          <p:nvPr userDrawn="1"/>
        </p:nvSpPr>
        <p:spPr>
          <a:xfrm rot="2700000">
            <a:off x="500103" y="-2250712"/>
            <a:ext cx="2891746" cy="8395793"/>
          </a:xfrm>
          <a:custGeom>
            <a:avLst/>
            <a:gdLst>
              <a:gd name="connsiteX0" fmla="*/ 0 w 2891746"/>
              <a:gd name="connsiteY0" fmla="*/ 2890035 h 8395793"/>
              <a:gd name="connsiteX1" fmla="*/ 1390389 w 2891746"/>
              <a:gd name="connsiteY1" fmla="*/ 1499646 h 8395793"/>
              <a:gd name="connsiteX2" fmla="*/ 1390389 w 2891746"/>
              <a:gd name="connsiteY2" fmla="*/ 1499646 h 8395793"/>
              <a:gd name="connsiteX3" fmla="*/ 2890036 w 2891746"/>
              <a:gd name="connsiteY3" fmla="*/ 0 h 8395793"/>
              <a:gd name="connsiteX4" fmla="*/ 2890036 w 2891746"/>
              <a:gd name="connsiteY4" fmla="*/ 8322767 h 8395793"/>
              <a:gd name="connsiteX5" fmla="*/ 2891746 w 2891746"/>
              <a:gd name="connsiteY5" fmla="*/ 8340727 h 8395793"/>
              <a:gd name="connsiteX6" fmla="*/ 2891741 w 2891746"/>
              <a:gd name="connsiteY6" fmla="*/ 8395793 h 8395793"/>
              <a:gd name="connsiteX7" fmla="*/ 2546313 w 2891746"/>
              <a:gd name="connsiteY7" fmla="*/ 8050365 h 8395793"/>
              <a:gd name="connsiteX8" fmla="*/ 2546315 w 2891746"/>
              <a:gd name="connsiteY8" fmla="*/ 8050364 h 8395793"/>
              <a:gd name="connsiteX9" fmla="*/ 0 w 2891746"/>
              <a:gd name="connsiteY9" fmla="*/ 5504049 h 83957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891746" h="8395793">
                <a:moveTo>
                  <a:pt x="0" y="2890035"/>
                </a:moveTo>
                <a:lnTo>
                  <a:pt x="1390389" y="1499646"/>
                </a:lnTo>
                <a:lnTo>
                  <a:pt x="1390389" y="1499646"/>
                </a:lnTo>
                <a:lnTo>
                  <a:pt x="2890036" y="0"/>
                </a:lnTo>
                <a:lnTo>
                  <a:pt x="2890036" y="8322767"/>
                </a:lnTo>
                <a:lnTo>
                  <a:pt x="2891746" y="8340727"/>
                </a:lnTo>
                <a:lnTo>
                  <a:pt x="2891741" y="8395793"/>
                </a:lnTo>
                <a:lnTo>
                  <a:pt x="2546313" y="8050365"/>
                </a:lnTo>
                <a:lnTo>
                  <a:pt x="2546315" y="8050364"/>
                </a:lnTo>
                <a:lnTo>
                  <a:pt x="0" y="5504049"/>
                </a:lnTo>
                <a:close/>
              </a:path>
            </a:pathLst>
          </a:custGeom>
          <a:gradFill>
            <a:gsLst>
              <a:gs pos="24000">
                <a:srgbClr val="7F35AB"/>
              </a:gs>
              <a:gs pos="87000">
                <a:srgbClr val="264088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DBDC7692-DF81-49A0-9672-BF8E1DB9B662}"/>
              </a:ext>
            </a:extLst>
          </p:cNvPr>
          <p:cNvSpPr/>
          <p:nvPr userDrawn="1"/>
        </p:nvSpPr>
        <p:spPr>
          <a:xfrm rot="18900000">
            <a:off x="-1253438" y="2913755"/>
            <a:ext cx="6372785" cy="905566"/>
          </a:xfrm>
          <a:custGeom>
            <a:avLst/>
            <a:gdLst>
              <a:gd name="connsiteX0" fmla="*/ 6372785 w 6372785"/>
              <a:gd name="connsiteY0" fmla="*/ 0 h 905566"/>
              <a:gd name="connsiteX1" fmla="*/ 6372785 w 6372785"/>
              <a:gd name="connsiteY1" fmla="*/ 905566 h 905566"/>
              <a:gd name="connsiteX2" fmla="*/ 0 w 6372785"/>
              <a:gd name="connsiteY2" fmla="*/ 905566 h 905566"/>
              <a:gd name="connsiteX3" fmla="*/ 905566 w 6372785"/>
              <a:gd name="connsiteY3" fmla="*/ 0 h 9055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72785" h="905566">
                <a:moveTo>
                  <a:pt x="6372785" y="0"/>
                </a:moveTo>
                <a:lnTo>
                  <a:pt x="6372785" y="905566"/>
                </a:lnTo>
                <a:lnTo>
                  <a:pt x="0" y="905566"/>
                </a:lnTo>
                <a:lnTo>
                  <a:pt x="905566" y="0"/>
                </a:lnTo>
                <a:close/>
              </a:path>
            </a:pathLst>
          </a:custGeom>
          <a:gradFill>
            <a:gsLst>
              <a:gs pos="22000">
                <a:srgbClr val="7F35AB">
                  <a:alpha val="94000"/>
                </a:srgbClr>
              </a:gs>
              <a:gs pos="95000">
                <a:schemeClr val="bg1"/>
              </a:gs>
              <a:gs pos="77000">
                <a:schemeClr val="bg1">
                  <a:alpha val="79000"/>
                </a:schemeClr>
              </a:gs>
            </a:gsLst>
            <a:lin ang="8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4155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/ Closing –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35B1C875-AD13-4256-9E56-D2FCF94B81E1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E1B65455-CBDD-4B2B-8BB7-0D016422E2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AF202269-FCD9-4D84-82E7-4E6E4F5B7E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68585838-6A08-43B0-827A-D33942E82F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AAAE7B3A-0116-4C7F-85A1-4CDFE95B9B5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9CA84427-5217-43A1-9C71-25D9E1DFDD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A60ADC44-391E-4E50-A7BB-332F2C9E8B4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1DA390D7-F8F5-442A-8A17-9A9EB73BF94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/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C31C01D4-7C61-4B0F-8304-87A15AD01262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39F709C-1996-44DB-8C47-9CBD9243BF4E}"/>
              </a:ext>
            </a:extLst>
          </p:cNvPr>
          <p:cNvSpPr txBox="1"/>
          <p:nvPr userDrawn="1"/>
        </p:nvSpPr>
        <p:spPr>
          <a:xfrm>
            <a:off x="7122912" y="4133697"/>
            <a:ext cx="3585557" cy="69249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r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en-US" sz="5000" b="0" kern="1200" cap="none" baseline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t>Thank You</a:t>
            </a: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811A168A-1363-4430-87C6-83E5143B39F6}"/>
              </a:ext>
            </a:extLst>
          </p:cNvPr>
          <p:cNvSpPr/>
          <p:nvPr userDrawn="1"/>
        </p:nvSpPr>
        <p:spPr>
          <a:xfrm rot="2700000">
            <a:off x="500103" y="-2250712"/>
            <a:ext cx="2891746" cy="8395793"/>
          </a:xfrm>
          <a:custGeom>
            <a:avLst/>
            <a:gdLst>
              <a:gd name="connsiteX0" fmla="*/ 0 w 2891746"/>
              <a:gd name="connsiteY0" fmla="*/ 2890035 h 8395793"/>
              <a:gd name="connsiteX1" fmla="*/ 1390389 w 2891746"/>
              <a:gd name="connsiteY1" fmla="*/ 1499646 h 8395793"/>
              <a:gd name="connsiteX2" fmla="*/ 1390389 w 2891746"/>
              <a:gd name="connsiteY2" fmla="*/ 1499646 h 8395793"/>
              <a:gd name="connsiteX3" fmla="*/ 2890036 w 2891746"/>
              <a:gd name="connsiteY3" fmla="*/ 0 h 8395793"/>
              <a:gd name="connsiteX4" fmla="*/ 2890036 w 2891746"/>
              <a:gd name="connsiteY4" fmla="*/ 8322767 h 8395793"/>
              <a:gd name="connsiteX5" fmla="*/ 2891746 w 2891746"/>
              <a:gd name="connsiteY5" fmla="*/ 8340727 h 8395793"/>
              <a:gd name="connsiteX6" fmla="*/ 2891741 w 2891746"/>
              <a:gd name="connsiteY6" fmla="*/ 8395793 h 8395793"/>
              <a:gd name="connsiteX7" fmla="*/ 2546313 w 2891746"/>
              <a:gd name="connsiteY7" fmla="*/ 8050365 h 8395793"/>
              <a:gd name="connsiteX8" fmla="*/ 2546315 w 2891746"/>
              <a:gd name="connsiteY8" fmla="*/ 8050364 h 8395793"/>
              <a:gd name="connsiteX9" fmla="*/ 0 w 2891746"/>
              <a:gd name="connsiteY9" fmla="*/ 5504049 h 83957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891746" h="8395793">
                <a:moveTo>
                  <a:pt x="0" y="2890035"/>
                </a:moveTo>
                <a:lnTo>
                  <a:pt x="1390389" y="1499646"/>
                </a:lnTo>
                <a:lnTo>
                  <a:pt x="1390389" y="1499646"/>
                </a:lnTo>
                <a:lnTo>
                  <a:pt x="2890036" y="0"/>
                </a:lnTo>
                <a:lnTo>
                  <a:pt x="2890036" y="8322767"/>
                </a:lnTo>
                <a:lnTo>
                  <a:pt x="2891746" y="8340727"/>
                </a:lnTo>
                <a:lnTo>
                  <a:pt x="2891741" y="8395793"/>
                </a:lnTo>
                <a:lnTo>
                  <a:pt x="2546313" y="8050365"/>
                </a:lnTo>
                <a:lnTo>
                  <a:pt x="2546315" y="8050364"/>
                </a:lnTo>
                <a:lnTo>
                  <a:pt x="0" y="5504049"/>
                </a:lnTo>
                <a:close/>
              </a:path>
            </a:pathLst>
          </a:custGeom>
          <a:gradFill>
            <a:gsLst>
              <a:gs pos="24000">
                <a:schemeClr val="accent3"/>
              </a:gs>
              <a:gs pos="87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2C946B50-6B2C-4792-825B-BEFD24908723}"/>
              </a:ext>
            </a:extLst>
          </p:cNvPr>
          <p:cNvSpPr/>
          <p:nvPr userDrawn="1"/>
        </p:nvSpPr>
        <p:spPr>
          <a:xfrm rot="18900000">
            <a:off x="-1253438" y="2913755"/>
            <a:ext cx="6372785" cy="905566"/>
          </a:xfrm>
          <a:custGeom>
            <a:avLst/>
            <a:gdLst>
              <a:gd name="connsiteX0" fmla="*/ 6372785 w 6372785"/>
              <a:gd name="connsiteY0" fmla="*/ 0 h 905566"/>
              <a:gd name="connsiteX1" fmla="*/ 6372785 w 6372785"/>
              <a:gd name="connsiteY1" fmla="*/ 905566 h 905566"/>
              <a:gd name="connsiteX2" fmla="*/ 0 w 6372785"/>
              <a:gd name="connsiteY2" fmla="*/ 905566 h 905566"/>
              <a:gd name="connsiteX3" fmla="*/ 905566 w 6372785"/>
              <a:gd name="connsiteY3" fmla="*/ 0 h 9055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72785" h="905566">
                <a:moveTo>
                  <a:pt x="6372785" y="0"/>
                </a:moveTo>
                <a:lnTo>
                  <a:pt x="6372785" y="905566"/>
                </a:lnTo>
                <a:lnTo>
                  <a:pt x="0" y="905566"/>
                </a:lnTo>
                <a:lnTo>
                  <a:pt x="905566" y="0"/>
                </a:lnTo>
                <a:close/>
              </a:path>
            </a:pathLst>
          </a:custGeom>
          <a:gradFill>
            <a:gsLst>
              <a:gs pos="24000">
                <a:schemeClr val="accent3"/>
              </a:gs>
              <a:gs pos="80511">
                <a:schemeClr val="bg1">
                  <a:alpha val="76000"/>
                </a:schemeClr>
              </a:gs>
              <a:gs pos="100000">
                <a:schemeClr val="bg1"/>
              </a:gs>
            </a:gsLst>
            <a:lin ang="8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4008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nt Che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EA75217-7D87-4C71-8F80-833477FCB149}"/>
              </a:ext>
            </a:extLst>
          </p:cNvPr>
          <p:cNvSpPr/>
          <p:nvPr userDrawn="1"/>
        </p:nvSpPr>
        <p:spPr bwMode="hidden">
          <a:xfrm>
            <a:off x="0" y="0"/>
            <a:ext cx="12188825" cy="68580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49AC7DF-BFC1-4044-BB52-C9946AD8A327}"/>
              </a:ext>
            </a:extLst>
          </p:cNvPr>
          <p:cNvSpPr txBox="1">
            <a:spLocks/>
          </p:cNvSpPr>
          <p:nvPr userDrawn="1"/>
        </p:nvSpPr>
        <p:spPr>
          <a:xfrm>
            <a:off x="564569" y="366687"/>
            <a:ext cx="11001004" cy="7061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5000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3C12014-9EC5-4F8C-BD3D-B60E85EC9FFD}"/>
              </a:ext>
            </a:extLst>
          </p:cNvPr>
          <p:cNvSpPr txBox="1"/>
          <p:nvPr userDrawn="1"/>
        </p:nvSpPr>
        <p:spPr>
          <a:xfrm>
            <a:off x="620895" y="3906060"/>
            <a:ext cx="10962687" cy="23807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30000"/>
              </a:lnSpc>
            </a:pPr>
            <a:r>
              <a:rPr lang="en-US" sz="1800">
                <a:solidFill>
                  <a:schemeClr val="bg1"/>
                </a:solidFill>
              </a:rPr>
              <a:t>If yes, you are good to go!</a:t>
            </a:r>
          </a:p>
          <a:p>
            <a:pPr>
              <a:lnSpc>
                <a:spcPct val="130000"/>
              </a:lnSpc>
            </a:pPr>
            <a:r>
              <a:rPr lang="en-US" sz="1800">
                <a:solidFill>
                  <a:schemeClr val="bg1"/>
                </a:solidFill>
              </a:rPr>
              <a:t>If the answer is no, you do not have the Metropolis font installed.</a:t>
            </a:r>
          </a:p>
          <a:p>
            <a:pPr>
              <a:lnSpc>
                <a:spcPct val="130000"/>
              </a:lnSpc>
            </a:pPr>
            <a:endParaRPr lang="en-US" sz="180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>
                <a:solidFill>
                  <a:schemeClr val="bg1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lick here</a:t>
            </a:r>
            <a:r>
              <a:rPr lang="en-US" sz="1800">
                <a:solidFill>
                  <a:schemeClr val="bg1"/>
                </a:solidFill>
              </a:rPr>
              <a:t> to download the font</a:t>
            </a:r>
            <a:r>
              <a:rPr lang="en-US" sz="1800" baseline="0">
                <a:solidFill>
                  <a:schemeClr val="bg1"/>
                </a:solidFill>
              </a:rPr>
              <a:t>.</a:t>
            </a:r>
          </a:p>
          <a:p>
            <a:pPr marL="400050" marR="0" lvl="0" indent="-227013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strike="noStrike" baseline="0">
                <a:solidFill>
                  <a:schemeClr val="bg1"/>
                </a:solidFill>
              </a:rPr>
              <a:t>Log in with SSO and select the Brand Assets tab in Brand Central</a:t>
            </a:r>
          </a:p>
          <a:p>
            <a:pPr>
              <a:lnSpc>
                <a:spcPct val="130000"/>
              </a:lnSpc>
            </a:pPr>
            <a:r>
              <a:rPr lang="en-US" sz="1800">
                <a:solidFill>
                  <a:schemeClr val="bg1"/>
                </a:solidFill>
              </a:rPr>
              <a:t>Need more information on how to install fonts? </a:t>
            </a:r>
            <a:br>
              <a:rPr lang="en-US" sz="1800">
                <a:solidFill>
                  <a:schemeClr val="bg1"/>
                </a:solidFill>
              </a:rPr>
            </a:br>
            <a:r>
              <a:rPr lang="en-US" sz="1800">
                <a:solidFill>
                  <a:schemeClr val="bg1"/>
                </a:solidFill>
              </a:rPr>
              <a:t>Refer to the quick-start section in the template guidelines or contact Oasis.</a:t>
            </a:r>
          </a:p>
          <a:p>
            <a:pPr>
              <a:lnSpc>
                <a:spcPct val="130000"/>
              </a:lnSpc>
            </a:pPr>
            <a:r>
              <a:rPr lang="en-US" sz="1800">
                <a:solidFill>
                  <a:schemeClr val="bg1"/>
                </a:solidFill>
              </a:rPr>
              <a:t> </a:t>
            </a:r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DDDC76C1-EE98-469A-A6AD-21148374D6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98114" y="2908233"/>
            <a:ext cx="5354637" cy="895350"/>
          </a:xfrm>
        </p:spPr>
        <p:txBody>
          <a:bodyPr/>
          <a:lstStyle>
            <a:lvl1pPr>
              <a:defRPr sz="4900">
                <a:solidFill>
                  <a:schemeClr val="bg1"/>
                </a:solidFill>
              </a:defRPr>
            </a:lvl1pPr>
            <a:lvl2pPr>
              <a:defRPr sz="3600">
                <a:solidFill>
                  <a:schemeClr val="bg1"/>
                </a:solidFill>
              </a:defRPr>
            </a:lvl2pPr>
            <a:lvl3pPr>
              <a:defRPr sz="32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etropolis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029BE03A-21B0-4196-A033-4E90957BA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z="2800" dirty="0">
                <a:solidFill>
                  <a:schemeClr val="bg1"/>
                </a:solidFill>
              </a:rPr>
              <a:t>Metropolis Font Check</a:t>
            </a:r>
          </a:p>
        </p:txBody>
      </p:sp>
      <p:sp>
        <p:nvSpPr>
          <p:cNvPr id="51" name="Subtitle 2">
            <a:extLst>
              <a:ext uri="{FF2B5EF4-FFF2-40B4-BE49-F238E27FC236}">
                <a16:creationId xmlns:a16="http://schemas.microsoft.com/office/drawing/2014/main" id="{CB049186-CC25-4BD3-8410-4DE62ED4B08B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38105"/>
            <a:ext cx="10962687" cy="247743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Is the Metropolis font installed on my computer?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51A92F24-FC82-4FA9-9362-801284731CC8}"/>
              </a:ext>
            </a:extLst>
          </p:cNvPr>
          <p:cNvSpPr/>
          <p:nvPr userDrawn="1"/>
        </p:nvSpPr>
        <p:spPr bwMode="gray">
          <a:xfrm>
            <a:off x="623363" y="1616678"/>
            <a:ext cx="4633737" cy="2441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100">
                <a:solidFill>
                  <a:schemeClr val="bg1"/>
                </a:solidFill>
              </a:rPr>
              <a:t>Do the fonts in the words below match on your screen?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B59E37DB-3217-4772-AE8E-E9673A139975}"/>
              </a:ext>
            </a:extLst>
          </p:cNvPr>
          <p:cNvCxnSpPr>
            <a:cxnSpLocks/>
          </p:cNvCxnSpPr>
          <p:nvPr userDrawn="1"/>
        </p:nvCxnSpPr>
        <p:spPr>
          <a:xfrm>
            <a:off x="623364" y="1860778"/>
            <a:ext cx="7299849" cy="0"/>
          </a:xfrm>
          <a:prstGeom prst="line">
            <a:avLst/>
          </a:prstGeom>
          <a:ln w="25400">
            <a:solidFill>
              <a:schemeClr val="bg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 Placeholder 43">
            <a:extLst>
              <a:ext uri="{FF2B5EF4-FFF2-40B4-BE49-F238E27FC236}">
                <a16:creationId xmlns:a16="http://schemas.microsoft.com/office/drawing/2014/main" id="{6C28CB3F-7257-499E-B2F6-B9B1B38D82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83683" y="2908233"/>
            <a:ext cx="5354637" cy="895350"/>
          </a:xfrm>
        </p:spPr>
        <p:txBody>
          <a:bodyPr/>
          <a:lstStyle>
            <a:lvl1pPr>
              <a:defRPr sz="4900">
                <a:solidFill>
                  <a:schemeClr val="bg1"/>
                </a:solidFill>
                <a:latin typeface="+mj-lt"/>
              </a:defRPr>
            </a:lvl1pPr>
            <a:lvl2pPr>
              <a:defRPr sz="3600">
                <a:solidFill>
                  <a:schemeClr val="bg1"/>
                </a:solidFill>
              </a:defRPr>
            </a:lvl2pPr>
            <a:lvl3pPr>
              <a:defRPr sz="32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etropolis Light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365F6992-4889-4035-986F-E69979C7B028}"/>
              </a:ext>
            </a:extLst>
          </p:cNvPr>
          <p:cNvGrpSpPr/>
          <p:nvPr userDrawn="1"/>
        </p:nvGrpSpPr>
        <p:grpSpPr>
          <a:xfrm>
            <a:off x="6054922" y="2225997"/>
            <a:ext cx="4699461" cy="542276"/>
            <a:chOff x="6685343" y="2270804"/>
            <a:chExt cx="4699461" cy="542276"/>
          </a:xfrm>
          <a:solidFill>
            <a:schemeClr val="bg1"/>
          </a:solidFill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157C5E2C-9A8F-469D-810E-FD271477DD05}"/>
                </a:ext>
              </a:extLst>
            </p:cNvPr>
            <p:cNvSpPr/>
            <p:nvPr/>
          </p:nvSpPr>
          <p:spPr>
            <a:xfrm>
              <a:off x="9320530" y="2270804"/>
              <a:ext cx="53167" cy="53167"/>
            </a:xfrm>
            <a:custGeom>
              <a:avLst/>
              <a:gdLst/>
              <a:ahLst/>
              <a:cxnLst/>
              <a:rect l="l" t="t" r="r" b="b"/>
              <a:pathLst>
                <a:path w="53167" h="53167">
                  <a:moveTo>
                    <a:pt x="26583" y="0"/>
                  </a:moveTo>
                  <a:cubicBezTo>
                    <a:pt x="34183" y="219"/>
                    <a:pt x="40467" y="2872"/>
                    <a:pt x="45439" y="7959"/>
                  </a:cubicBezTo>
                  <a:cubicBezTo>
                    <a:pt x="50411" y="13047"/>
                    <a:pt x="52987" y="19255"/>
                    <a:pt x="53167" y="26583"/>
                  </a:cubicBezTo>
                  <a:cubicBezTo>
                    <a:pt x="52987" y="34182"/>
                    <a:pt x="50411" y="40468"/>
                    <a:pt x="45439" y="45439"/>
                  </a:cubicBezTo>
                  <a:cubicBezTo>
                    <a:pt x="40467" y="50411"/>
                    <a:pt x="34183" y="52987"/>
                    <a:pt x="26583" y="53167"/>
                  </a:cubicBezTo>
                  <a:cubicBezTo>
                    <a:pt x="18985" y="52987"/>
                    <a:pt x="12699" y="50411"/>
                    <a:pt x="7727" y="45439"/>
                  </a:cubicBezTo>
                  <a:cubicBezTo>
                    <a:pt x="2756" y="40468"/>
                    <a:pt x="180" y="34182"/>
                    <a:pt x="0" y="26583"/>
                  </a:cubicBezTo>
                  <a:cubicBezTo>
                    <a:pt x="180" y="19255"/>
                    <a:pt x="2756" y="13047"/>
                    <a:pt x="7727" y="7959"/>
                  </a:cubicBezTo>
                  <a:cubicBezTo>
                    <a:pt x="12699" y="2872"/>
                    <a:pt x="18985" y="219"/>
                    <a:pt x="26583" y="0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16D8268-B556-4A2E-A24F-2098FB05E4CA}"/>
                </a:ext>
              </a:extLst>
            </p:cNvPr>
            <p:cNvSpPr/>
            <p:nvPr/>
          </p:nvSpPr>
          <p:spPr>
            <a:xfrm>
              <a:off x="10320655" y="2270804"/>
              <a:ext cx="53167" cy="53167"/>
            </a:xfrm>
            <a:custGeom>
              <a:avLst/>
              <a:gdLst/>
              <a:ahLst/>
              <a:cxnLst/>
              <a:rect l="l" t="t" r="r" b="b"/>
              <a:pathLst>
                <a:path w="53167" h="53167">
                  <a:moveTo>
                    <a:pt x="26583" y="0"/>
                  </a:moveTo>
                  <a:cubicBezTo>
                    <a:pt x="34182" y="219"/>
                    <a:pt x="40468" y="2872"/>
                    <a:pt x="45439" y="7959"/>
                  </a:cubicBezTo>
                  <a:cubicBezTo>
                    <a:pt x="50411" y="13047"/>
                    <a:pt x="52986" y="19255"/>
                    <a:pt x="53167" y="26583"/>
                  </a:cubicBezTo>
                  <a:cubicBezTo>
                    <a:pt x="52986" y="34182"/>
                    <a:pt x="50411" y="40468"/>
                    <a:pt x="45439" y="45439"/>
                  </a:cubicBezTo>
                  <a:cubicBezTo>
                    <a:pt x="40468" y="50411"/>
                    <a:pt x="34182" y="52987"/>
                    <a:pt x="26583" y="53167"/>
                  </a:cubicBezTo>
                  <a:cubicBezTo>
                    <a:pt x="18984" y="52987"/>
                    <a:pt x="12699" y="50411"/>
                    <a:pt x="7727" y="45439"/>
                  </a:cubicBezTo>
                  <a:cubicBezTo>
                    <a:pt x="2756" y="40468"/>
                    <a:pt x="180" y="34182"/>
                    <a:pt x="0" y="26583"/>
                  </a:cubicBezTo>
                  <a:cubicBezTo>
                    <a:pt x="180" y="19255"/>
                    <a:pt x="2756" y="13047"/>
                    <a:pt x="7727" y="7959"/>
                  </a:cubicBezTo>
                  <a:cubicBezTo>
                    <a:pt x="12699" y="2872"/>
                    <a:pt x="18984" y="219"/>
                    <a:pt x="26583" y="0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54C27A0-5E49-4C0A-B9A5-777E28510D88}"/>
                </a:ext>
              </a:extLst>
            </p:cNvPr>
            <p:cNvSpPr/>
            <p:nvPr/>
          </p:nvSpPr>
          <p:spPr>
            <a:xfrm>
              <a:off x="9176178" y="2273899"/>
              <a:ext cx="38309" cy="432691"/>
            </a:xfrm>
            <a:custGeom>
              <a:avLst/>
              <a:gdLst/>
              <a:ahLst/>
              <a:cxnLst/>
              <a:rect l="l" t="t" r="r" b="b"/>
              <a:pathLst>
                <a:path w="38309" h="432691">
                  <a:moveTo>
                    <a:pt x="0" y="0"/>
                  </a:moveTo>
                  <a:lnTo>
                    <a:pt x="38309" y="0"/>
                  </a:lnTo>
                  <a:lnTo>
                    <a:pt x="38309" y="432691"/>
                  </a:lnTo>
                  <a:lnTo>
                    <a:pt x="0" y="43269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B6DC2D46-24E8-497A-AE7E-3F29CF07D0E0}"/>
                </a:ext>
              </a:extLst>
            </p:cNvPr>
            <p:cNvSpPr/>
            <p:nvPr/>
          </p:nvSpPr>
          <p:spPr>
            <a:xfrm>
              <a:off x="10871628" y="2273899"/>
              <a:ext cx="263051" cy="432691"/>
            </a:xfrm>
            <a:custGeom>
              <a:avLst/>
              <a:gdLst/>
              <a:ahLst/>
              <a:cxnLst/>
              <a:rect l="l" t="t" r="r" b="b"/>
              <a:pathLst>
                <a:path w="263051" h="432691">
                  <a:moveTo>
                    <a:pt x="0" y="0"/>
                  </a:moveTo>
                  <a:lnTo>
                    <a:pt x="38309" y="0"/>
                  </a:lnTo>
                  <a:lnTo>
                    <a:pt x="38309" y="164610"/>
                  </a:lnTo>
                  <a:cubicBezTo>
                    <a:pt x="47303" y="146708"/>
                    <a:pt x="61058" y="132407"/>
                    <a:pt x="79575" y="121706"/>
                  </a:cubicBezTo>
                  <a:cubicBezTo>
                    <a:pt x="98091" y="111006"/>
                    <a:pt x="119435" y="105521"/>
                    <a:pt x="143603" y="105252"/>
                  </a:cubicBezTo>
                  <a:cubicBezTo>
                    <a:pt x="179471" y="105803"/>
                    <a:pt x="208206" y="117063"/>
                    <a:pt x="229805" y="139033"/>
                  </a:cubicBezTo>
                  <a:cubicBezTo>
                    <a:pt x="251405" y="161002"/>
                    <a:pt x="262487" y="190372"/>
                    <a:pt x="263051" y="227142"/>
                  </a:cubicBezTo>
                  <a:lnTo>
                    <a:pt x="263051" y="432691"/>
                  </a:lnTo>
                  <a:lnTo>
                    <a:pt x="224743" y="432691"/>
                  </a:lnTo>
                  <a:lnTo>
                    <a:pt x="224743" y="232095"/>
                  </a:lnTo>
                  <a:cubicBezTo>
                    <a:pt x="224343" y="204441"/>
                    <a:pt x="216316" y="182359"/>
                    <a:pt x="200663" y="165849"/>
                  </a:cubicBezTo>
                  <a:cubicBezTo>
                    <a:pt x="185011" y="149339"/>
                    <a:pt x="164133" y="140877"/>
                    <a:pt x="138029" y="140464"/>
                  </a:cubicBezTo>
                  <a:cubicBezTo>
                    <a:pt x="109215" y="141019"/>
                    <a:pt x="85549" y="149506"/>
                    <a:pt x="67032" y="165926"/>
                  </a:cubicBezTo>
                  <a:cubicBezTo>
                    <a:pt x="48515" y="182346"/>
                    <a:pt x="38941" y="203370"/>
                    <a:pt x="38309" y="228999"/>
                  </a:cubicBezTo>
                  <a:lnTo>
                    <a:pt x="38309" y="432691"/>
                  </a:lnTo>
                  <a:lnTo>
                    <a:pt x="0" y="43269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0B6A4DE9-31A3-428E-B420-424F68D79E41}"/>
                </a:ext>
              </a:extLst>
            </p:cNvPr>
            <p:cNvSpPr/>
            <p:nvPr/>
          </p:nvSpPr>
          <p:spPr>
            <a:xfrm>
              <a:off x="6685343" y="2281329"/>
              <a:ext cx="403593" cy="425261"/>
            </a:xfrm>
            <a:custGeom>
              <a:avLst/>
              <a:gdLst/>
              <a:ahLst/>
              <a:cxnLst/>
              <a:rect l="l" t="t" r="r" b="b"/>
              <a:pathLst>
                <a:path w="403593" h="425261">
                  <a:moveTo>
                    <a:pt x="0" y="0"/>
                  </a:moveTo>
                  <a:lnTo>
                    <a:pt x="39547" y="0"/>
                  </a:lnTo>
                  <a:lnTo>
                    <a:pt x="201797" y="304554"/>
                  </a:lnTo>
                  <a:lnTo>
                    <a:pt x="364046" y="0"/>
                  </a:lnTo>
                  <a:lnTo>
                    <a:pt x="403593" y="0"/>
                  </a:lnTo>
                  <a:lnTo>
                    <a:pt x="403593" y="425261"/>
                  </a:lnTo>
                  <a:lnTo>
                    <a:pt x="364046" y="425261"/>
                  </a:lnTo>
                  <a:lnTo>
                    <a:pt x="364046" y="84186"/>
                  </a:lnTo>
                  <a:lnTo>
                    <a:pt x="201797" y="388740"/>
                  </a:lnTo>
                  <a:lnTo>
                    <a:pt x="39547" y="84186"/>
                  </a:lnTo>
                  <a:lnTo>
                    <a:pt x="39547" y="425261"/>
                  </a:lnTo>
                  <a:lnTo>
                    <a:pt x="0" y="42526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9221A60B-A1D2-4D5F-ADCD-2B3BF1989BD1}"/>
                </a:ext>
              </a:extLst>
            </p:cNvPr>
            <p:cNvSpPr/>
            <p:nvPr/>
          </p:nvSpPr>
          <p:spPr>
            <a:xfrm>
              <a:off x="9980992" y="2281329"/>
              <a:ext cx="276052" cy="425261"/>
            </a:xfrm>
            <a:custGeom>
              <a:avLst/>
              <a:gdLst/>
              <a:ahLst/>
              <a:cxnLst/>
              <a:rect l="l" t="t" r="r" b="b"/>
              <a:pathLst>
                <a:path w="276052" h="425261">
                  <a:moveTo>
                    <a:pt x="0" y="0"/>
                  </a:moveTo>
                  <a:lnTo>
                    <a:pt x="39547" y="0"/>
                  </a:lnTo>
                  <a:lnTo>
                    <a:pt x="39547" y="387572"/>
                  </a:lnTo>
                  <a:lnTo>
                    <a:pt x="276052" y="387572"/>
                  </a:lnTo>
                  <a:lnTo>
                    <a:pt x="276052" y="425261"/>
                  </a:lnTo>
                  <a:lnTo>
                    <a:pt x="0" y="42526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BB738972-CA48-44E6-B7DD-E4E8B81F3D9E}"/>
                </a:ext>
              </a:extLst>
            </p:cNvPr>
            <p:cNvSpPr/>
            <p:nvPr/>
          </p:nvSpPr>
          <p:spPr>
            <a:xfrm>
              <a:off x="7532020" y="2298664"/>
              <a:ext cx="185660" cy="415356"/>
            </a:xfrm>
            <a:custGeom>
              <a:avLst/>
              <a:gdLst/>
              <a:ahLst/>
              <a:cxnLst/>
              <a:rect l="l" t="t" r="r" b="b"/>
              <a:pathLst>
                <a:path w="185660" h="415356">
                  <a:moveTo>
                    <a:pt x="52006" y="0"/>
                  </a:moveTo>
                  <a:lnTo>
                    <a:pt x="90314" y="0"/>
                  </a:lnTo>
                  <a:lnTo>
                    <a:pt x="90314" y="87916"/>
                  </a:lnTo>
                  <a:lnTo>
                    <a:pt x="170801" y="87916"/>
                  </a:lnTo>
                  <a:lnTo>
                    <a:pt x="170801" y="123129"/>
                  </a:lnTo>
                  <a:lnTo>
                    <a:pt x="90314" y="123129"/>
                  </a:lnTo>
                  <a:lnTo>
                    <a:pt x="90314" y="333695"/>
                  </a:lnTo>
                  <a:cubicBezTo>
                    <a:pt x="90598" y="347552"/>
                    <a:pt x="94365" y="358699"/>
                    <a:pt x="101613" y="367138"/>
                  </a:cubicBezTo>
                  <a:cubicBezTo>
                    <a:pt x="108862" y="375576"/>
                    <a:pt x="117891" y="379911"/>
                    <a:pt x="128700" y="380143"/>
                  </a:cubicBezTo>
                  <a:cubicBezTo>
                    <a:pt x="136207" y="380079"/>
                    <a:pt x="143172" y="378814"/>
                    <a:pt x="149596" y="376350"/>
                  </a:cubicBezTo>
                  <a:cubicBezTo>
                    <a:pt x="156019" y="373886"/>
                    <a:pt x="161436" y="370608"/>
                    <a:pt x="165848" y="366518"/>
                  </a:cubicBezTo>
                  <a:lnTo>
                    <a:pt x="185660" y="394970"/>
                  </a:lnTo>
                  <a:cubicBezTo>
                    <a:pt x="177185" y="401495"/>
                    <a:pt x="167821" y="406514"/>
                    <a:pt x="157567" y="410028"/>
                  </a:cubicBezTo>
                  <a:cubicBezTo>
                    <a:pt x="147313" y="413541"/>
                    <a:pt x="136865" y="415317"/>
                    <a:pt x="126224" y="415356"/>
                  </a:cubicBezTo>
                  <a:cubicBezTo>
                    <a:pt x="104177" y="414934"/>
                    <a:pt x="86392" y="407284"/>
                    <a:pt x="72869" y="392407"/>
                  </a:cubicBezTo>
                  <a:cubicBezTo>
                    <a:pt x="59345" y="377530"/>
                    <a:pt x="52391" y="357959"/>
                    <a:pt x="52006" y="333695"/>
                  </a:cubicBezTo>
                  <a:lnTo>
                    <a:pt x="52006" y="123129"/>
                  </a:lnTo>
                  <a:lnTo>
                    <a:pt x="0" y="123129"/>
                  </a:lnTo>
                  <a:lnTo>
                    <a:pt x="0" y="87916"/>
                  </a:lnTo>
                  <a:lnTo>
                    <a:pt x="52006" y="87916"/>
                  </a:lnTo>
                  <a:lnTo>
                    <a:pt x="52006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C0E3A6F-0249-4454-864B-04BF720A73B8}"/>
                </a:ext>
              </a:extLst>
            </p:cNvPr>
            <p:cNvSpPr/>
            <p:nvPr/>
          </p:nvSpPr>
          <p:spPr>
            <a:xfrm>
              <a:off x="11199144" y="2298664"/>
              <a:ext cx="185660" cy="415356"/>
            </a:xfrm>
            <a:custGeom>
              <a:avLst/>
              <a:gdLst/>
              <a:ahLst/>
              <a:cxnLst/>
              <a:rect l="l" t="t" r="r" b="b"/>
              <a:pathLst>
                <a:path w="185660" h="415356">
                  <a:moveTo>
                    <a:pt x="52006" y="0"/>
                  </a:moveTo>
                  <a:lnTo>
                    <a:pt x="90315" y="0"/>
                  </a:lnTo>
                  <a:lnTo>
                    <a:pt x="90315" y="87916"/>
                  </a:lnTo>
                  <a:lnTo>
                    <a:pt x="170802" y="87916"/>
                  </a:lnTo>
                  <a:lnTo>
                    <a:pt x="170802" y="123129"/>
                  </a:lnTo>
                  <a:lnTo>
                    <a:pt x="90315" y="123129"/>
                  </a:lnTo>
                  <a:lnTo>
                    <a:pt x="90315" y="333695"/>
                  </a:lnTo>
                  <a:cubicBezTo>
                    <a:pt x="90599" y="347552"/>
                    <a:pt x="94366" y="358699"/>
                    <a:pt x="101614" y="367138"/>
                  </a:cubicBezTo>
                  <a:cubicBezTo>
                    <a:pt x="108863" y="375576"/>
                    <a:pt x="117892" y="379911"/>
                    <a:pt x="128701" y="380143"/>
                  </a:cubicBezTo>
                  <a:cubicBezTo>
                    <a:pt x="136208" y="380079"/>
                    <a:pt x="143173" y="378814"/>
                    <a:pt x="149596" y="376350"/>
                  </a:cubicBezTo>
                  <a:cubicBezTo>
                    <a:pt x="156020" y="373886"/>
                    <a:pt x="161437" y="370608"/>
                    <a:pt x="165848" y="366518"/>
                  </a:cubicBezTo>
                  <a:lnTo>
                    <a:pt x="185660" y="394970"/>
                  </a:lnTo>
                  <a:cubicBezTo>
                    <a:pt x="177186" y="401495"/>
                    <a:pt x="167822" y="406514"/>
                    <a:pt x="157568" y="410028"/>
                  </a:cubicBezTo>
                  <a:cubicBezTo>
                    <a:pt x="147314" y="413541"/>
                    <a:pt x="136866" y="415317"/>
                    <a:pt x="126224" y="415356"/>
                  </a:cubicBezTo>
                  <a:cubicBezTo>
                    <a:pt x="104178" y="414934"/>
                    <a:pt x="86393" y="407284"/>
                    <a:pt x="72870" y="392407"/>
                  </a:cubicBezTo>
                  <a:cubicBezTo>
                    <a:pt x="59346" y="377530"/>
                    <a:pt x="52392" y="357959"/>
                    <a:pt x="52006" y="333695"/>
                  </a:cubicBezTo>
                  <a:lnTo>
                    <a:pt x="52006" y="123129"/>
                  </a:lnTo>
                  <a:lnTo>
                    <a:pt x="0" y="123129"/>
                  </a:lnTo>
                  <a:lnTo>
                    <a:pt x="0" y="87916"/>
                  </a:lnTo>
                  <a:lnTo>
                    <a:pt x="52006" y="87916"/>
                  </a:lnTo>
                  <a:lnTo>
                    <a:pt x="52006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BD5D52F-83DC-4C29-BFF9-C29AC76D694C}"/>
                </a:ext>
              </a:extLst>
            </p:cNvPr>
            <p:cNvSpPr/>
            <p:nvPr/>
          </p:nvSpPr>
          <p:spPr>
            <a:xfrm>
              <a:off x="7184309" y="2379151"/>
              <a:ext cx="309486" cy="334869"/>
            </a:xfrm>
            <a:custGeom>
              <a:avLst/>
              <a:gdLst/>
              <a:ahLst/>
              <a:cxnLst/>
              <a:rect l="l" t="t" r="r" b="b"/>
              <a:pathLst>
                <a:path w="309486" h="334869">
                  <a:moveTo>
                    <a:pt x="157840" y="0"/>
                  </a:moveTo>
                  <a:cubicBezTo>
                    <a:pt x="205615" y="720"/>
                    <a:pt x="242734" y="17376"/>
                    <a:pt x="269197" y="49965"/>
                  </a:cubicBezTo>
                  <a:cubicBezTo>
                    <a:pt x="295660" y="82555"/>
                    <a:pt x="309089" y="126754"/>
                    <a:pt x="309486" y="182564"/>
                  </a:cubicBezTo>
                  <a:lnTo>
                    <a:pt x="38928" y="182564"/>
                  </a:lnTo>
                  <a:cubicBezTo>
                    <a:pt x="42863" y="216445"/>
                    <a:pt x="55740" y="244247"/>
                    <a:pt x="77559" y="265969"/>
                  </a:cubicBezTo>
                  <a:cubicBezTo>
                    <a:pt x="99377" y="287692"/>
                    <a:pt x="126963" y="298921"/>
                    <a:pt x="160317" y="299656"/>
                  </a:cubicBezTo>
                  <a:cubicBezTo>
                    <a:pt x="181013" y="299488"/>
                    <a:pt x="201090" y="295797"/>
                    <a:pt x="220547" y="288582"/>
                  </a:cubicBezTo>
                  <a:cubicBezTo>
                    <a:pt x="240005" y="281367"/>
                    <a:pt x="255436" y="271635"/>
                    <a:pt x="266842" y="259387"/>
                  </a:cubicBezTo>
                  <a:lnTo>
                    <a:pt x="290950" y="285407"/>
                  </a:lnTo>
                  <a:cubicBezTo>
                    <a:pt x="276534" y="300459"/>
                    <a:pt x="257271" y="312414"/>
                    <a:pt x="233160" y="321273"/>
                  </a:cubicBezTo>
                  <a:cubicBezTo>
                    <a:pt x="209050" y="330132"/>
                    <a:pt x="184975" y="334664"/>
                    <a:pt x="160937" y="334869"/>
                  </a:cubicBezTo>
                  <a:cubicBezTo>
                    <a:pt x="132043" y="334568"/>
                    <a:pt x="105473" y="327127"/>
                    <a:pt x="81227" y="312548"/>
                  </a:cubicBezTo>
                  <a:cubicBezTo>
                    <a:pt x="56980" y="297968"/>
                    <a:pt x="37482" y="278056"/>
                    <a:pt x="22732" y="252812"/>
                  </a:cubicBezTo>
                  <a:cubicBezTo>
                    <a:pt x="7982" y="227567"/>
                    <a:pt x="405" y="198797"/>
                    <a:pt x="0" y="166502"/>
                  </a:cubicBezTo>
                  <a:cubicBezTo>
                    <a:pt x="343" y="134622"/>
                    <a:pt x="7561" y="106198"/>
                    <a:pt x="21654" y="81230"/>
                  </a:cubicBezTo>
                  <a:cubicBezTo>
                    <a:pt x="35746" y="56262"/>
                    <a:pt x="54656" y="36557"/>
                    <a:pt x="78382" y="22115"/>
                  </a:cubicBezTo>
                  <a:cubicBezTo>
                    <a:pt x="102109" y="7673"/>
                    <a:pt x="128595" y="301"/>
                    <a:pt x="157840" y="0"/>
                  </a:cubicBezTo>
                  <a:close/>
                  <a:moveTo>
                    <a:pt x="159079" y="35212"/>
                  </a:moveTo>
                  <a:cubicBezTo>
                    <a:pt x="127505" y="35742"/>
                    <a:pt x="100848" y="46145"/>
                    <a:pt x="79107" y="66423"/>
                  </a:cubicBezTo>
                  <a:cubicBezTo>
                    <a:pt x="57366" y="86700"/>
                    <a:pt x="44179" y="113676"/>
                    <a:pt x="39547" y="147351"/>
                  </a:cubicBezTo>
                  <a:lnTo>
                    <a:pt x="271796" y="147351"/>
                  </a:lnTo>
                  <a:cubicBezTo>
                    <a:pt x="268881" y="114489"/>
                    <a:pt x="257836" y="87745"/>
                    <a:pt x="238663" y="67120"/>
                  </a:cubicBezTo>
                  <a:cubicBezTo>
                    <a:pt x="219489" y="46494"/>
                    <a:pt x="192961" y="35858"/>
                    <a:pt x="159079" y="35212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8A50D27D-9134-4260-9625-A03ACB43BB75}"/>
                </a:ext>
              </a:extLst>
            </p:cNvPr>
            <p:cNvSpPr/>
            <p:nvPr/>
          </p:nvSpPr>
          <p:spPr>
            <a:xfrm>
              <a:off x="7784908" y="2379151"/>
              <a:ext cx="162134" cy="327439"/>
            </a:xfrm>
            <a:custGeom>
              <a:avLst/>
              <a:gdLst/>
              <a:ahLst/>
              <a:cxnLst/>
              <a:rect l="l" t="t" r="r" b="b"/>
              <a:pathLst>
                <a:path w="162134" h="327439">
                  <a:moveTo>
                    <a:pt x="162134" y="0"/>
                  </a:moveTo>
                  <a:lnTo>
                    <a:pt x="162134" y="35212"/>
                  </a:lnTo>
                  <a:cubicBezTo>
                    <a:pt x="125283" y="35792"/>
                    <a:pt x="95591" y="46396"/>
                    <a:pt x="73057" y="67025"/>
                  </a:cubicBezTo>
                  <a:cubicBezTo>
                    <a:pt x="50523" y="87655"/>
                    <a:pt x="38941" y="114831"/>
                    <a:pt x="38309" y="148556"/>
                  </a:cubicBezTo>
                  <a:lnTo>
                    <a:pt x="38309" y="327439"/>
                  </a:lnTo>
                  <a:lnTo>
                    <a:pt x="0" y="327439"/>
                  </a:lnTo>
                  <a:lnTo>
                    <a:pt x="0" y="7429"/>
                  </a:lnTo>
                  <a:lnTo>
                    <a:pt x="38309" y="7429"/>
                  </a:lnTo>
                  <a:lnTo>
                    <a:pt x="38309" y="74217"/>
                  </a:lnTo>
                  <a:cubicBezTo>
                    <a:pt x="47338" y="51898"/>
                    <a:pt x="62713" y="34035"/>
                    <a:pt x="84434" y="20628"/>
                  </a:cubicBezTo>
                  <a:cubicBezTo>
                    <a:pt x="106154" y="7222"/>
                    <a:pt x="132054" y="345"/>
                    <a:pt x="162134" y="0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8AD9AAAC-AEE1-41E7-98D0-8AAAA66A65F2}"/>
                </a:ext>
              </a:extLst>
            </p:cNvPr>
            <p:cNvSpPr/>
            <p:nvPr/>
          </p:nvSpPr>
          <p:spPr>
            <a:xfrm>
              <a:off x="7992696" y="2379151"/>
              <a:ext cx="330536" cy="334869"/>
            </a:xfrm>
            <a:custGeom>
              <a:avLst/>
              <a:gdLst/>
              <a:ahLst/>
              <a:cxnLst/>
              <a:rect l="l" t="t" r="r" b="b"/>
              <a:pathLst>
                <a:path w="330536" h="334869">
                  <a:moveTo>
                    <a:pt x="165267" y="0"/>
                  </a:moveTo>
                  <a:cubicBezTo>
                    <a:pt x="195773" y="366"/>
                    <a:pt x="223451" y="8019"/>
                    <a:pt x="248301" y="22960"/>
                  </a:cubicBezTo>
                  <a:cubicBezTo>
                    <a:pt x="273151" y="37901"/>
                    <a:pt x="292978" y="57935"/>
                    <a:pt x="307782" y="83060"/>
                  </a:cubicBezTo>
                  <a:cubicBezTo>
                    <a:pt x="322585" y="108185"/>
                    <a:pt x="330170" y="136207"/>
                    <a:pt x="330536" y="167125"/>
                  </a:cubicBezTo>
                  <a:cubicBezTo>
                    <a:pt x="330170" y="198051"/>
                    <a:pt x="322585" y="226126"/>
                    <a:pt x="307782" y="251351"/>
                  </a:cubicBezTo>
                  <a:cubicBezTo>
                    <a:pt x="292978" y="276575"/>
                    <a:pt x="273151" y="296708"/>
                    <a:pt x="248301" y="311748"/>
                  </a:cubicBezTo>
                  <a:cubicBezTo>
                    <a:pt x="223451" y="326788"/>
                    <a:pt x="195773" y="334495"/>
                    <a:pt x="165267" y="334869"/>
                  </a:cubicBezTo>
                  <a:cubicBezTo>
                    <a:pt x="134762" y="334495"/>
                    <a:pt x="107084" y="326788"/>
                    <a:pt x="82234" y="311748"/>
                  </a:cubicBezTo>
                  <a:cubicBezTo>
                    <a:pt x="57384" y="296708"/>
                    <a:pt x="37557" y="276575"/>
                    <a:pt x="22754" y="251351"/>
                  </a:cubicBezTo>
                  <a:cubicBezTo>
                    <a:pt x="7951" y="226126"/>
                    <a:pt x="366" y="198051"/>
                    <a:pt x="0" y="167125"/>
                  </a:cubicBezTo>
                  <a:cubicBezTo>
                    <a:pt x="366" y="136207"/>
                    <a:pt x="7951" y="108185"/>
                    <a:pt x="22754" y="83060"/>
                  </a:cubicBezTo>
                  <a:cubicBezTo>
                    <a:pt x="37557" y="57935"/>
                    <a:pt x="57384" y="37901"/>
                    <a:pt x="82234" y="22960"/>
                  </a:cubicBezTo>
                  <a:cubicBezTo>
                    <a:pt x="107084" y="8019"/>
                    <a:pt x="134762" y="366"/>
                    <a:pt x="165267" y="0"/>
                  </a:cubicBezTo>
                  <a:close/>
                  <a:moveTo>
                    <a:pt x="165267" y="35212"/>
                  </a:moveTo>
                  <a:cubicBezTo>
                    <a:pt x="129954" y="36180"/>
                    <a:pt x="100407" y="49108"/>
                    <a:pt x="76628" y="73997"/>
                  </a:cubicBezTo>
                  <a:cubicBezTo>
                    <a:pt x="52849" y="98885"/>
                    <a:pt x="40489" y="129928"/>
                    <a:pt x="39547" y="167125"/>
                  </a:cubicBezTo>
                  <a:cubicBezTo>
                    <a:pt x="40489" y="204348"/>
                    <a:pt x="52849" y="235494"/>
                    <a:pt x="76628" y="260563"/>
                  </a:cubicBezTo>
                  <a:cubicBezTo>
                    <a:pt x="100407" y="285632"/>
                    <a:pt x="129954" y="298663"/>
                    <a:pt x="165267" y="299656"/>
                  </a:cubicBezTo>
                  <a:cubicBezTo>
                    <a:pt x="200581" y="298663"/>
                    <a:pt x="230128" y="285632"/>
                    <a:pt x="253907" y="260563"/>
                  </a:cubicBezTo>
                  <a:cubicBezTo>
                    <a:pt x="277686" y="235494"/>
                    <a:pt x="290047" y="204348"/>
                    <a:pt x="290989" y="167125"/>
                  </a:cubicBezTo>
                  <a:cubicBezTo>
                    <a:pt x="290047" y="129928"/>
                    <a:pt x="277686" y="98885"/>
                    <a:pt x="253907" y="73997"/>
                  </a:cubicBezTo>
                  <a:cubicBezTo>
                    <a:pt x="230128" y="49108"/>
                    <a:pt x="200581" y="36180"/>
                    <a:pt x="165267" y="35212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05D99233-8B51-431E-B7AE-9CFD2F67C3E6}"/>
                </a:ext>
              </a:extLst>
            </p:cNvPr>
            <p:cNvSpPr/>
            <p:nvPr/>
          </p:nvSpPr>
          <p:spPr>
            <a:xfrm>
              <a:off x="8404653" y="2379151"/>
              <a:ext cx="303913" cy="433929"/>
            </a:xfrm>
            <a:custGeom>
              <a:avLst/>
              <a:gdLst/>
              <a:ahLst/>
              <a:cxnLst/>
              <a:rect l="l" t="t" r="r" b="b"/>
              <a:pathLst>
                <a:path w="303913" h="433929">
                  <a:moveTo>
                    <a:pt x="157842" y="0"/>
                  </a:moveTo>
                  <a:cubicBezTo>
                    <a:pt x="199966" y="1002"/>
                    <a:pt x="234608" y="16936"/>
                    <a:pt x="261767" y="47802"/>
                  </a:cubicBezTo>
                  <a:cubicBezTo>
                    <a:pt x="288926" y="78669"/>
                    <a:pt x="302975" y="118456"/>
                    <a:pt x="303913" y="167163"/>
                  </a:cubicBezTo>
                  <a:cubicBezTo>
                    <a:pt x="302975" y="216136"/>
                    <a:pt x="288926" y="256082"/>
                    <a:pt x="261767" y="287003"/>
                  </a:cubicBezTo>
                  <a:cubicBezTo>
                    <a:pt x="234608" y="317924"/>
                    <a:pt x="199966" y="333879"/>
                    <a:pt x="157842" y="334869"/>
                  </a:cubicBezTo>
                  <a:cubicBezTo>
                    <a:pt x="131378" y="334665"/>
                    <a:pt x="107972" y="328432"/>
                    <a:pt x="87624" y="316172"/>
                  </a:cubicBezTo>
                  <a:cubicBezTo>
                    <a:pt x="67276" y="303912"/>
                    <a:pt x="50837" y="286849"/>
                    <a:pt x="38308" y="264985"/>
                  </a:cubicBezTo>
                  <a:lnTo>
                    <a:pt x="38308" y="433929"/>
                  </a:lnTo>
                  <a:lnTo>
                    <a:pt x="0" y="433929"/>
                  </a:lnTo>
                  <a:lnTo>
                    <a:pt x="0" y="7429"/>
                  </a:lnTo>
                  <a:lnTo>
                    <a:pt x="38308" y="7429"/>
                  </a:lnTo>
                  <a:lnTo>
                    <a:pt x="38308" y="69894"/>
                  </a:lnTo>
                  <a:cubicBezTo>
                    <a:pt x="50837" y="48025"/>
                    <a:pt x="67276" y="30959"/>
                    <a:pt x="87624" y="18698"/>
                  </a:cubicBezTo>
                  <a:cubicBezTo>
                    <a:pt x="107972" y="6437"/>
                    <a:pt x="131378" y="204"/>
                    <a:pt x="157842" y="0"/>
                  </a:cubicBezTo>
                  <a:close/>
                  <a:moveTo>
                    <a:pt x="150410" y="35212"/>
                  </a:moveTo>
                  <a:cubicBezTo>
                    <a:pt x="117017" y="35870"/>
                    <a:pt x="90127" y="48179"/>
                    <a:pt x="69740" y="72139"/>
                  </a:cubicBezTo>
                  <a:cubicBezTo>
                    <a:pt x="49354" y="96098"/>
                    <a:pt x="38876" y="127760"/>
                    <a:pt x="38308" y="167125"/>
                  </a:cubicBezTo>
                  <a:cubicBezTo>
                    <a:pt x="38876" y="206515"/>
                    <a:pt x="49354" y="238281"/>
                    <a:pt x="69740" y="262421"/>
                  </a:cubicBezTo>
                  <a:cubicBezTo>
                    <a:pt x="90127" y="286561"/>
                    <a:pt x="117017" y="298972"/>
                    <a:pt x="150410" y="299656"/>
                  </a:cubicBezTo>
                  <a:cubicBezTo>
                    <a:pt x="183312" y="298856"/>
                    <a:pt x="210253" y="286212"/>
                    <a:pt x="231233" y="261724"/>
                  </a:cubicBezTo>
                  <a:cubicBezTo>
                    <a:pt x="252213" y="237235"/>
                    <a:pt x="263051" y="205703"/>
                    <a:pt x="263747" y="167125"/>
                  </a:cubicBezTo>
                  <a:cubicBezTo>
                    <a:pt x="263051" y="128573"/>
                    <a:pt x="252213" y="97143"/>
                    <a:pt x="231233" y="72836"/>
                  </a:cubicBezTo>
                  <a:cubicBezTo>
                    <a:pt x="210253" y="48528"/>
                    <a:pt x="183312" y="35987"/>
                    <a:pt x="150410" y="35212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99B1F118-34ED-4FB8-A180-737A1399C241}"/>
                </a:ext>
              </a:extLst>
            </p:cNvPr>
            <p:cNvSpPr/>
            <p:nvPr/>
          </p:nvSpPr>
          <p:spPr>
            <a:xfrm>
              <a:off x="8764222" y="2379151"/>
              <a:ext cx="330535" cy="334869"/>
            </a:xfrm>
            <a:custGeom>
              <a:avLst/>
              <a:gdLst/>
              <a:ahLst/>
              <a:cxnLst/>
              <a:rect l="l" t="t" r="r" b="b"/>
              <a:pathLst>
                <a:path w="330535" h="334869">
                  <a:moveTo>
                    <a:pt x="165267" y="0"/>
                  </a:moveTo>
                  <a:cubicBezTo>
                    <a:pt x="195773" y="366"/>
                    <a:pt x="223451" y="8019"/>
                    <a:pt x="248301" y="22960"/>
                  </a:cubicBezTo>
                  <a:cubicBezTo>
                    <a:pt x="273151" y="37901"/>
                    <a:pt x="292978" y="57935"/>
                    <a:pt x="307781" y="83060"/>
                  </a:cubicBezTo>
                  <a:cubicBezTo>
                    <a:pt x="322585" y="108185"/>
                    <a:pt x="330169" y="136207"/>
                    <a:pt x="330535" y="167125"/>
                  </a:cubicBezTo>
                  <a:cubicBezTo>
                    <a:pt x="330169" y="198051"/>
                    <a:pt x="322585" y="226126"/>
                    <a:pt x="307781" y="251351"/>
                  </a:cubicBezTo>
                  <a:cubicBezTo>
                    <a:pt x="292978" y="276575"/>
                    <a:pt x="273151" y="296708"/>
                    <a:pt x="248301" y="311748"/>
                  </a:cubicBezTo>
                  <a:cubicBezTo>
                    <a:pt x="223451" y="326788"/>
                    <a:pt x="195773" y="334495"/>
                    <a:pt x="165267" y="334869"/>
                  </a:cubicBezTo>
                  <a:cubicBezTo>
                    <a:pt x="134761" y="334495"/>
                    <a:pt x="107083" y="326788"/>
                    <a:pt x="82234" y="311748"/>
                  </a:cubicBezTo>
                  <a:cubicBezTo>
                    <a:pt x="57383" y="296708"/>
                    <a:pt x="37557" y="276575"/>
                    <a:pt x="22754" y="251351"/>
                  </a:cubicBezTo>
                  <a:cubicBezTo>
                    <a:pt x="7951" y="226126"/>
                    <a:pt x="366" y="198051"/>
                    <a:pt x="0" y="167125"/>
                  </a:cubicBezTo>
                  <a:cubicBezTo>
                    <a:pt x="366" y="136207"/>
                    <a:pt x="7951" y="108185"/>
                    <a:pt x="22754" y="83060"/>
                  </a:cubicBezTo>
                  <a:cubicBezTo>
                    <a:pt x="37557" y="57935"/>
                    <a:pt x="57383" y="37901"/>
                    <a:pt x="82234" y="22960"/>
                  </a:cubicBezTo>
                  <a:cubicBezTo>
                    <a:pt x="107083" y="8019"/>
                    <a:pt x="134761" y="366"/>
                    <a:pt x="165267" y="0"/>
                  </a:cubicBezTo>
                  <a:close/>
                  <a:moveTo>
                    <a:pt x="165267" y="35212"/>
                  </a:moveTo>
                  <a:cubicBezTo>
                    <a:pt x="129954" y="36180"/>
                    <a:pt x="100407" y="49108"/>
                    <a:pt x="76628" y="73997"/>
                  </a:cubicBezTo>
                  <a:cubicBezTo>
                    <a:pt x="52849" y="98885"/>
                    <a:pt x="40489" y="129928"/>
                    <a:pt x="39547" y="167125"/>
                  </a:cubicBezTo>
                  <a:cubicBezTo>
                    <a:pt x="40489" y="204348"/>
                    <a:pt x="52849" y="235494"/>
                    <a:pt x="76628" y="260563"/>
                  </a:cubicBezTo>
                  <a:cubicBezTo>
                    <a:pt x="100407" y="285632"/>
                    <a:pt x="129954" y="298663"/>
                    <a:pt x="165267" y="299656"/>
                  </a:cubicBezTo>
                  <a:cubicBezTo>
                    <a:pt x="200581" y="298663"/>
                    <a:pt x="230128" y="285632"/>
                    <a:pt x="253907" y="260563"/>
                  </a:cubicBezTo>
                  <a:cubicBezTo>
                    <a:pt x="277686" y="235494"/>
                    <a:pt x="290047" y="204348"/>
                    <a:pt x="290989" y="167125"/>
                  </a:cubicBezTo>
                  <a:cubicBezTo>
                    <a:pt x="290047" y="129928"/>
                    <a:pt x="277686" y="98885"/>
                    <a:pt x="253907" y="73997"/>
                  </a:cubicBezTo>
                  <a:cubicBezTo>
                    <a:pt x="230128" y="49108"/>
                    <a:pt x="200581" y="36180"/>
                    <a:pt x="165267" y="35212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99817CB1-DAD9-42CD-BEDA-3ADB122B8709}"/>
                </a:ext>
              </a:extLst>
            </p:cNvPr>
            <p:cNvSpPr/>
            <p:nvPr/>
          </p:nvSpPr>
          <p:spPr>
            <a:xfrm>
              <a:off x="9443830" y="2379151"/>
              <a:ext cx="247572" cy="334869"/>
            </a:xfrm>
            <a:custGeom>
              <a:avLst/>
              <a:gdLst/>
              <a:ahLst/>
              <a:cxnLst/>
              <a:rect l="l" t="t" r="r" b="b"/>
              <a:pathLst>
                <a:path w="247572" h="334869">
                  <a:moveTo>
                    <a:pt x="127498" y="0"/>
                  </a:moveTo>
                  <a:cubicBezTo>
                    <a:pt x="147218" y="103"/>
                    <a:pt x="166934" y="3295"/>
                    <a:pt x="186644" y="9575"/>
                  </a:cubicBezTo>
                  <a:cubicBezTo>
                    <a:pt x="206354" y="15856"/>
                    <a:pt x="224810" y="24609"/>
                    <a:pt x="242012" y="35833"/>
                  </a:cubicBezTo>
                  <a:lnTo>
                    <a:pt x="222857" y="65559"/>
                  </a:lnTo>
                  <a:cubicBezTo>
                    <a:pt x="206974" y="55624"/>
                    <a:pt x="190931" y="48089"/>
                    <a:pt x="174726" y="42954"/>
                  </a:cubicBezTo>
                  <a:cubicBezTo>
                    <a:pt x="158521" y="37819"/>
                    <a:pt x="142778" y="35238"/>
                    <a:pt x="127498" y="35212"/>
                  </a:cubicBezTo>
                  <a:cubicBezTo>
                    <a:pt x="107457" y="35367"/>
                    <a:pt x="90706" y="39857"/>
                    <a:pt x="77246" y="48683"/>
                  </a:cubicBezTo>
                  <a:cubicBezTo>
                    <a:pt x="63786" y="57508"/>
                    <a:pt x="56792" y="69739"/>
                    <a:pt x="56263" y="85377"/>
                  </a:cubicBezTo>
                  <a:cubicBezTo>
                    <a:pt x="56004" y="99440"/>
                    <a:pt x="62715" y="110949"/>
                    <a:pt x="76394" y="119903"/>
                  </a:cubicBezTo>
                  <a:cubicBezTo>
                    <a:pt x="90074" y="128857"/>
                    <a:pt x="112270" y="138198"/>
                    <a:pt x="142984" y="147927"/>
                  </a:cubicBezTo>
                  <a:cubicBezTo>
                    <a:pt x="173358" y="156519"/>
                    <a:pt x="198222" y="167667"/>
                    <a:pt x="217578" y="181369"/>
                  </a:cubicBezTo>
                  <a:cubicBezTo>
                    <a:pt x="236933" y="195071"/>
                    <a:pt x="246931" y="215508"/>
                    <a:pt x="247572" y="242680"/>
                  </a:cubicBezTo>
                  <a:cubicBezTo>
                    <a:pt x="246802" y="270365"/>
                    <a:pt x="235668" y="292542"/>
                    <a:pt x="214171" y="309212"/>
                  </a:cubicBezTo>
                  <a:cubicBezTo>
                    <a:pt x="192674" y="325881"/>
                    <a:pt x="165434" y="334434"/>
                    <a:pt x="132453" y="334869"/>
                  </a:cubicBezTo>
                  <a:cubicBezTo>
                    <a:pt x="109819" y="334780"/>
                    <a:pt x="86962" y="330634"/>
                    <a:pt x="63881" y="322433"/>
                  </a:cubicBezTo>
                  <a:cubicBezTo>
                    <a:pt x="40800" y="314231"/>
                    <a:pt x="19507" y="302510"/>
                    <a:pt x="0" y="287270"/>
                  </a:cubicBezTo>
                  <a:lnTo>
                    <a:pt x="21044" y="258782"/>
                  </a:lnTo>
                  <a:cubicBezTo>
                    <a:pt x="39390" y="272136"/>
                    <a:pt x="58025" y="282277"/>
                    <a:pt x="76948" y="289205"/>
                  </a:cubicBezTo>
                  <a:cubicBezTo>
                    <a:pt x="95870" y="296134"/>
                    <a:pt x="114372" y="299618"/>
                    <a:pt x="132453" y="299656"/>
                  </a:cubicBezTo>
                  <a:cubicBezTo>
                    <a:pt x="155166" y="299372"/>
                    <a:pt x="173543" y="294366"/>
                    <a:pt x="187584" y="284638"/>
                  </a:cubicBezTo>
                  <a:cubicBezTo>
                    <a:pt x="201624" y="274910"/>
                    <a:pt x="208851" y="262162"/>
                    <a:pt x="209264" y="246396"/>
                  </a:cubicBezTo>
                  <a:cubicBezTo>
                    <a:pt x="208942" y="229481"/>
                    <a:pt x="201224" y="216244"/>
                    <a:pt x="186112" y="206683"/>
                  </a:cubicBezTo>
                  <a:cubicBezTo>
                    <a:pt x="171000" y="197123"/>
                    <a:pt x="150430" y="188685"/>
                    <a:pt x="124401" y="181369"/>
                  </a:cubicBezTo>
                  <a:cubicBezTo>
                    <a:pt x="86371" y="170622"/>
                    <a:pt x="59031" y="158210"/>
                    <a:pt x="42382" y="144133"/>
                  </a:cubicBezTo>
                  <a:cubicBezTo>
                    <a:pt x="25733" y="130057"/>
                    <a:pt x="17590" y="111917"/>
                    <a:pt x="17954" y="89712"/>
                  </a:cubicBezTo>
                  <a:cubicBezTo>
                    <a:pt x="18686" y="62673"/>
                    <a:pt x="29278" y="41063"/>
                    <a:pt x="49729" y="24883"/>
                  </a:cubicBezTo>
                  <a:cubicBezTo>
                    <a:pt x="70181" y="8703"/>
                    <a:pt x="96104" y="409"/>
                    <a:pt x="127498" y="0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8965CEB0-3B0E-4C5D-82CE-B28C6B20C2B1}"/>
                </a:ext>
              </a:extLst>
            </p:cNvPr>
            <p:cNvSpPr/>
            <p:nvPr/>
          </p:nvSpPr>
          <p:spPr>
            <a:xfrm>
              <a:off x="10449527" y="2379151"/>
              <a:ext cx="305770" cy="433929"/>
            </a:xfrm>
            <a:custGeom>
              <a:avLst/>
              <a:gdLst/>
              <a:ahLst/>
              <a:cxnLst/>
              <a:rect l="l" t="t" r="r" b="b"/>
              <a:pathLst>
                <a:path w="305770" h="433929">
                  <a:moveTo>
                    <a:pt x="144833" y="0"/>
                  </a:moveTo>
                  <a:cubicBezTo>
                    <a:pt x="172238" y="138"/>
                    <a:pt x="196392" y="6193"/>
                    <a:pt x="217295" y="18166"/>
                  </a:cubicBezTo>
                  <a:cubicBezTo>
                    <a:pt x="238197" y="30138"/>
                    <a:pt x="254920" y="47197"/>
                    <a:pt x="267462" y="69342"/>
                  </a:cubicBezTo>
                  <a:lnTo>
                    <a:pt x="267462" y="7429"/>
                  </a:lnTo>
                  <a:lnTo>
                    <a:pt x="305770" y="7429"/>
                  </a:lnTo>
                  <a:lnTo>
                    <a:pt x="305770" y="293411"/>
                  </a:lnTo>
                  <a:cubicBezTo>
                    <a:pt x="304987" y="335306"/>
                    <a:pt x="290628" y="369024"/>
                    <a:pt x="262693" y="394562"/>
                  </a:cubicBezTo>
                  <a:cubicBezTo>
                    <a:pt x="234759" y="420100"/>
                    <a:pt x="197950" y="433223"/>
                    <a:pt x="152265" y="433929"/>
                  </a:cubicBezTo>
                  <a:cubicBezTo>
                    <a:pt x="126743" y="433698"/>
                    <a:pt x="102539" y="429681"/>
                    <a:pt x="79653" y="421880"/>
                  </a:cubicBezTo>
                  <a:cubicBezTo>
                    <a:pt x="56767" y="414078"/>
                    <a:pt x="37837" y="403878"/>
                    <a:pt x="22863" y="391281"/>
                  </a:cubicBezTo>
                  <a:lnTo>
                    <a:pt x="40165" y="360299"/>
                  </a:lnTo>
                  <a:cubicBezTo>
                    <a:pt x="53533" y="372201"/>
                    <a:pt x="69687" y="381547"/>
                    <a:pt x="88629" y="388337"/>
                  </a:cubicBezTo>
                  <a:cubicBezTo>
                    <a:pt x="107569" y="395128"/>
                    <a:pt x="127130" y="398587"/>
                    <a:pt x="147310" y="398716"/>
                  </a:cubicBezTo>
                  <a:cubicBezTo>
                    <a:pt x="184561" y="398393"/>
                    <a:pt x="213799" y="388971"/>
                    <a:pt x="235023" y="370449"/>
                  </a:cubicBezTo>
                  <a:cubicBezTo>
                    <a:pt x="256249" y="351928"/>
                    <a:pt x="267062" y="326249"/>
                    <a:pt x="267462" y="293411"/>
                  </a:cubicBezTo>
                  <a:lnTo>
                    <a:pt x="267462" y="234017"/>
                  </a:lnTo>
                  <a:cubicBezTo>
                    <a:pt x="254843" y="256428"/>
                    <a:pt x="237965" y="273648"/>
                    <a:pt x="216830" y="285678"/>
                  </a:cubicBezTo>
                  <a:cubicBezTo>
                    <a:pt x="195696" y="297707"/>
                    <a:pt x="171696" y="303786"/>
                    <a:pt x="144833" y="303913"/>
                  </a:cubicBezTo>
                  <a:cubicBezTo>
                    <a:pt x="102761" y="303026"/>
                    <a:pt x="68325" y="288564"/>
                    <a:pt x="41527" y="260527"/>
                  </a:cubicBezTo>
                  <a:cubicBezTo>
                    <a:pt x="14729" y="232489"/>
                    <a:pt x="886" y="196196"/>
                    <a:pt x="0" y="151646"/>
                  </a:cubicBezTo>
                  <a:cubicBezTo>
                    <a:pt x="886" y="107393"/>
                    <a:pt x="14729" y="71281"/>
                    <a:pt x="41527" y="43308"/>
                  </a:cubicBezTo>
                  <a:cubicBezTo>
                    <a:pt x="68325" y="15335"/>
                    <a:pt x="102761" y="899"/>
                    <a:pt x="144833" y="0"/>
                  </a:cubicBezTo>
                  <a:close/>
                  <a:moveTo>
                    <a:pt x="152265" y="35212"/>
                  </a:moveTo>
                  <a:cubicBezTo>
                    <a:pt x="119685" y="35921"/>
                    <a:pt x="93028" y="47045"/>
                    <a:pt x="72294" y="68583"/>
                  </a:cubicBezTo>
                  <a:cubicBezTo>
                    <a:pt x="51559" y="90122"/>
                    <a:pt x="40849" y="117823"/>
                    <a:pt x="40165" y="151685"/>
                  </a:cubicBezTo>
                  <a:cubicBezTo>
                    <a:pt x="40849" y="185815"/>
                    <a:pt x="51559" y="213675"/>
                    <a:pt x="72294" y="235267"/>
                  </a:cubicBezTo>
                  <a:cubicBezTo>
                    <a:pt x="93028" y="256859"/>
                    <a:pt x="119685" y="268003"/>
                    <a:pt x="152265" y="268700"/>
                  </a:cubicBezTo>
                  <a:cubicBezTo>
                    <a:pt x="186057" y="268120"/>
                    <a:pt x="213540" y="257207"/>
                    <a:pt x="234714" y="235959"/>
                  </a:cubicBezTo>
                  <a:cubicBezTo>
                    <a:pt x="255888" y="214711"/>
                    <a:pt x="266804" y="186607"/>
                    <a:pt x="267462" y="151646"/>
                  </a:cubicBezTo>
                  <a:cubicBezTo>
                    <a:pt x="266804" y="116989"/>
                    <a:pt x="255888" y="89068"/>
                    <a:pt x="234714" y="67882"/>
                  </a:cubicBezTo>
                  <a:cubicBezTo>
                    <a:pt x="213540" y="46696"/>
                    <a:pt x="186057" y="35806"/>
                    <a:pt x="152265" y="35212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2C78B23A-632F-4FF2-B1DB-D62779A331A5}"/>
                </a:ext>
              </a:extLst>
            </p:cNvPr>
            <p:cNvSpPr/>
            <p:nvPr/>
          </p:nvSpPr>
          <p:spPr>
            <a:xfrm>
              <a:off x="9327958" y="2386580"/>
              <a:ext cx="38308" cy="320010"/>
            </a:xfrm>
            <a:custGeom>
              <a:avLst/>
              <a:gdLst/>
              <a:ahLst/>
              <a:cxnLst/>
              <a:rect l="l" t="t" r="r" b="b"/>
              <a:pathLst>
                <a:path w="38308" h="320010">
                  <a:moveTo>
                    <a:pt x="0" y="0"/>
                  </a:moveTo>
                  <a:lnTo>
                    <a:pt x="38308" y="0"/>
                  </a:lnTo>
                  <a:lnTo>
                    <a:pt x="38308" y="320010"/>
                  </a:lnTo>
                  <a:lnTo>
                    <a:pt x="0" y="32001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624329D5-649B-4928-85CD-14362B04489C}"/>
                </a:ext>
              </a:extLst>
            </p:cNvPr>
            <p:cNvSpPr/>
            <p:nvPr/>
          </p:nvSpPr>
          <p:spPr>
            <a:xfrm>
              <a:off x="10328084" y="2386580"/>
              <a:ext cx="38309" cy="320010"/>
            </a:xfrm>
            <a:custGeom>
              <a:avLst/>
              <a:gdLst/>
              <a:ahLst/>
              <a:cxnLst/>
              <a:rect l="l" t="t" r="r" b="b"/>
              <a:pathLst>
                <a:path w="38309" h="320010">
                  <a:moveTo>
                    <a:pt x="0" y="0"/>
                  </a:moveTo>
                  <a:lnTo>
                    <a:pt x="38309" y="0"/>
                  </a:lnTo>
                  <a:lnTo>
                    <a:pt x="38309" y="320010"/>
                  </a:lnTo>
                  <a:lnTo>
                    <a:pt x="0" y="32001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164E83D4-30F6-4C59-8FFA-AD2FC2966221}"/>
              </a:ext>
            </a:extLst>
          </p:cNvPr>
          <p:cNvGrpSpPr/>
          <p:nvPr userDrawn="1"/>
        </p:nvGrpSpPr>
        <p:grpSpPr>
          <a:xfrm>
            <a:off x="672458" y="2225997"/>
            <a:ext cx="3021853" cy="546070"/>
            <a:chOff x="2656324" y="2163854"/>
            <a:chExt cx="3021853" cy="546070"/>
          </a:xfrm>
        </p:grpSpPr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F3051B0B-E539-41DA-BF1C-88B850B08AC1}"/>
                </a:ext>
              </a:extLst>
            </p:cNvPr>
            <p:cNvSpPr txBox="1">
              <a:spLocks/>
            </p:cNvSpPr>
            <p:nvPr/>
          </p:nvSpPr>
          <p:spPr>
            <a:xfrm>
              <a:off x="5302274" y="2163854"/>
              <a:ext cx="61293" cy="61294"/>
            </a:xfrm>
            <a:custGeom>
              <a:avLst/>
              <a:gdLst/>
              <a:ahLst/>
              <a:cxnLst/>
              <a:rect l="l" t="t" r="r" b="b"/>
              <a:pathLst>
                <a:path w="61293" h="61294">
                  <a:moveTo>
                    <a:pt x="30956" y="0"/>
                  </a:moveTo>
                  <a:cubicBezTo>
                    <a:pt x="39211" y="0"/>
                    <a:pt x="46331" y="2993"/>
                    <a:pt x="52316" y="8978"/>
                  </a:cubicBezTo>
                  <a:cubicBezTo>
                    <a:pt x="58301" y="14963"/>
                    <a:pt x="61293" y="22083"/>
                    <a:pt x="61293" y="30338"/>
                  </a:cubicBezTo>
                  <a:cubicBezTo>
                    <a:pt x="61293" y="38592"/>
                    <a:pt x="58301" y="45816"/>
                    <a:pt x="52316" y="52007"/>
                  </a:cubicBezTo>
                  <a:cubicBezTo>
                    <a:pt x="46331" y="58198"/>
                    <a:pt x="39211" y="61294"/>
                    <a:pt x="30956" y="61294"/>
                  </a:cubicBezTo>
                  <a:cubicBezTo>
                    <a:pt x="22288" y="61294"/>
                    <a:pt x="14962" y="58198"/>
                    <a:pt x="8977" y="52007"/>
                  </a:cubicBezTo>
                  <a:cubicBezTo>
                    <a:pt x="2992" y="45816"/>
                    <a:pt x="0" y="38592"/>
                    <a:pt x="0" y="30338"/>
                  </a:cubicBezTo>
                  <a:cubicBezTo>
                    <a:pt x="0" y="22083"/>
                    <a:pt x="2992" y="14963"/>
                    <a:pt x="8977" y="8978"/>
                  </a:cubicBezTo>
                  <a:cubicBezTo>
                    <a:pt x="14962" y="2993"/>
                    <a:pt x="22288" y="0"/>
                    <a:pt x="30956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E869A88A-B6ED-41AF-A29B-C30FFF486BB6}"/>
                </a:ext>
              </a:extLst>
            </p:cNvPr>
            <p:cNvSpPr txBox="1">
              <a:spLocks/>
            </p:cNvSpPr>
            <p:nvPr/>
          </p:nvSpPr>
          <p:spPr>
            <a:xfrm>
              <a:off x="5157303" y="2170665"/>
              <a:ext cx="46434" cy="432768"/>
            </a:xfrm>
            <a:custGeom>
              <a:avLst/>
              <a:gdLst/>
              <a:ahLst/>
              <a:cxnLst/>
              <a:rect l="l" t="t" r="r" b="b"/>
              <a:pathLst>
                <a:path w="46434" h="432768">
                  <a:moveTo>
                    <a:pt x="0" y="0"/>
                  </a:moveTo>
                  <a:lnTo>
                    <a:pt x="46434" y="0"/>
                  </a:lnTo>
                  <a:lnTo>
                    <a:pt x="46434" y="432768"/>
                  </a:lnTo>
                  <a:lnTo>
                    <a:pt x="0" y="43276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2801540C-5A6C-4A54-B0C6-6C0846EC4390}"/>
                </a:ext>
              </a:extLst>
            </p:cNvPr>
            <p:cNvSpPr txBox="1">
              <a:spLocks/>
            </p:cNvSpPr>
            <p:nvPr/>
          </p:nvSpPr>
          <p:spPr>
            <a:xfrm>
              <a:off x="2656324" y="2178095"/>
              <a:ext cx="412337" cy="425339"/>
            </a:xfrm>
            <a:custGeom>
              <a:avLst/>
              <a:gdLst/>
              <a:ahLst/>
              <a:cxnLst/>
              <a:rect l="l" t="t" r="r" b="b"/>
              <a:pathLst>
                <a:path w="412337" h="425339">
                  <a:moveTo>
                    <a:pt x="0" y="0"/>
                  </a:moveTo>
                  <a:lnTo>
                    <a:pt x="48291" y="0"/>
                  </a:lnTo>
                  <a:lnTo>
                    <a:pt x="206168" y="296561"/>
                  </a:lnTo>
                  <a:lnTo>
                    <a:pt x="364045" y="0"/>
                  </a:lnTo>
                  <a:lnTo>
                    <a:pt x="412337" y="0"/>
                  </a:lnTo>
                  <a:lnTo>
                    <a:pt x="412337" y="425339"/>
                  </a:lnTo>
                  <a:lnTo>
                    <a:pt x="364045" y="425339"/>
                  </a:lnTo>
                  <a:lnTo>
                    <a:pt x="364045" y="104013"/>
                  </a:lnTo>
                  <a:lnTo>
                    <a:pt x="206168" y="400574"/>
                  </a:lnTo>
                  <a:lnTo>
                    <a:pt x="48291" y="104013"/>
                  </a:lnTo>
                  <a:lnTo>
                    <a:pt x="48291" y="425339"/>
                  </a:lnTo>
                  <a:lnTo>
                    <a:pt x="0" y="4253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B91D5C56-2A21-48F7-9A01-6B21056777FC}"/>
                </a:ext>
              </a:extLst>
            </p:cNvPr>
            <p:cNvSpPr txBox="1">
              <a:spLocks/>
            </p:cNvSpPr>
            <p:nvPr/>
          </p:nvSpPr>
          <p:spPr>
            <a:xfrm>
              <a:off x="3506716" y="2195431"/>
              <a:ext cx="187595" cy="415433"/>
            </a:xfrm>
            <a:custGeom>
              <a:avLst/>
              <a:gdLst/>
              <a:ahLst/>
              <a:cxnLst/>
              <a:rect l="l" t="t" r="r" b="b"/>
              <a:pathLst>
                <a:path w="187595" h="415433">
                  <a:moveTo>
                    <a:pt x="50149" y="0"/>
                  </a:moveTo>
                  <a:lnTo>
                    <a:pt x="96583" y="0"/>
                  </a:lnTo>
                  <a:lnTo>
                    <a:pt x="96583" y="87916"/>
                  </a:lnTo>
                  <a:lnTo>
                    <a:pt x="175212" y="87916"/>
                  </a:lnTo>
                  <a:lnTo>
                    <a:pt x="175212" y="129397"/>
                  </a:lnTo>
                  <a:lnTo>
                    <a:pt x="96583" y="129397"/>
                  </a:lnTo>
                  <a:lnTo>
                    <a:pt x="96583" y="333708"/>
                  </a:lnTo>
                  <a:cubicBezTo>
                    <a:pt x="96583" y="345265"/>
                    <a:pt x="99988" y="354862"/>
                    <a:pt x="106799" y="362497"/>
                  </a:cubicBezTo>
                  <a:cubicBezTo>
                    <a:pt x="113609" y="370133"/>
                    <a:pt x="121761" y="373951"/>
                    <a:pt x="131254" y="373951"/>
                  </a:cubicBezTo>
                  <a:cubicBezTo>
                    <a:pt x="138271" y="373951"/>
                    <a:pt x="144669" y="372713"/>
                    <a:pt x="150447" y="370237"/>
                  </a:cubicBezTo>
                  <a:cubicBezTo>
                    <a:pt x="156226" y="367760"/>
                    <a:pt x="160972" y="364664"/>
                    <a:pt x="164687" y="360950"/>
                  </a:cubicBezTo>
                  <a:lnTo>
                    <a:pt x="187595" y="395002"/>
                  </a:lnTo>
                  <a:cubicBezTo>
                    <a:pt x="170259" y="408622"/>
                    <a:pt x="150447" y="415433"/>
                    <a:pt x="128158" y="415433"/>
                  </a:cubicBezTo>
                  <a:cubicBezTo>
                    <a:pt x="105457" y="415433"/>
                    <a:pt x="86780" y="407797"/>
                    <a:pt x="72128" y="392525"/>
                  </a:cubicBezTo>
                  <a:cubicBezTo>
                    <a:pt x="57475" y="377253"/>
                    <a:pt x="50149" y="357648"/>
                    <a:pt x="50149" y="333708"/>
                  </a:cubicBezTo>
                  <a:lnTo>
                    <a:pt x="50149" y="129397"/>
                  </a:lnTo>
                  <a:lnTo>
                    <a:pt x="0" y="129397"/>
                  </a:lnTo>
                  <a:lnTo>
                    <a:pt x="0" y="87916"/>
                  </a:lnTo>
                  <a:lnTo>
                    <a:pt x="50149" y="87916"/>
                  </a:lnTo>
                  <a:lnTo>
                    <a:pt x="50149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938751F7-5AB7-4F81-9DD2-C1AE3EE50FDD}"/>
                </a:ext>
              </a:extLst>
            </p:cNvPr>
            <p:cNvSpPr txBox="1">
              <a:spLocks/>
            </p:cNvSpPr>
            <p:nvPr/>
          </p:nvSpPr>
          <p:spPr>
            <a:xfrm>
              <a:off x="3159005" y="2275917"/>
              <a:ext cx="309563" cy="334947"/>
            </a:xfrm>
            <a:custGeom>
              <a:avLst/>
              <a:gdLst/>
              <a:ahLst/>
              <a:cxnLst/>
              <a:rect l="l" t="t" r="r" b="b"/>
              <a:pathLst>
                <a:path w="309563" h="334947">
                  <a:moveTo>
                    <a:pt x="157877" y="0"/>
                  </a:moveTo>
                  <a:cubicBezTo>
                    <a:pt x="205757" y="0"/>
                    <a:pt x="243007" y="16716"/>
                    <a:pt x="269629" y="50149"/>
                  </a:cubicBezTo>
                  <a:cubicBezTo>
                    <a:pt x="296252" y="83582"/>
                    <a:pt x="309563" y="128572"/>
                    <a:pt x="309563" y="185118"/>
                  </a:cubicBezTo>
                  <a:lnTo>
                    <a:pt x="47673" y="185118"/>
                  </a:lnTo>
                  <a:cubicBezTo>
                    <a:pt x="50975" y="216900"/>
                    <a:pt x="63048" y="242903"/>
                    <a:pt x="83892" y="263128"/>
                  </a:cubicBezTo>
                  <a:cubicBezTo>
                    <a:pt x="104736" y="283353"/>
                    <a:pt x="130636" y="293465"/>
                    <a:pt x="161592" y="293465"/>
                  </a:cubicBezTo>
                  <a:cubicBezTo>
                    <a:pt x="180579" y="293465"/>
                    <a:pt x="199669" y="289751"/>
                    <a:pt x="218861" y="282321"/>
                  </a:cubicBezTo>
                  <a:cubicBezTo>
                    <a:pt x="238054" y="274892"/>
                    <a:pt x="252604" y="265811"/>
                    <a:pt x="262509" y="255080"/>
                  </a:cubicBezTo>
                  <a:lnTo>
                    <a:pt x="290989" y="285417"/>
                  </a:lnTo>
                  <a:cubicBezTo>
                    <a:pt x="277368" y="300276"/>
                    <a:pt x="258279" y="312245"/>
                    <a:pt x="233720" y="321326"/>
                  </a:cubicBezTo>
                  <a:cubicBezTo>
                    <a:pt x="209162" y="330406"/>
                    <a:pt x="185326" y="334947"/>
                    <a:pt x="162211" y="334947"/>
                  </a:cubicBezTo>
                  <a:cubicBezTo>
                    <a:pt x="133732" y="334947"/>
                    <a:pt x="107109" y="327724"/>
                    <a:pt x="82344" y="313277"/>
                  </a:cubicBezTo>
                  <a:cubicBezTo>
                    <a:pt x="57579" y="298831"/>
                    <a:pt x="37664" y="278709"/>
                    <a:pt x="22599" y="252913"/>
                  </a:cubicBezTo>
                  <a:cubicBezTo>
                    <a:pt x="7533" y="227116"/>
                    <a:pt x="0" y="198326"/>
                    <a:pt x="0" y="166545"/>
                  </a:cubicBezTo>
                  <a:cubicBezTo>
                    <a:pt x="0" y="135588"/>
                    <a:pt x="7120" y="107315"/>
                    <a:pt x="21361" y="81725"/>
                  </a:cubicBezTo>
                  <a:cubicBezTo>
                    <a:pt x="35600" y="56134"/>
                    <a:pt x="54793" y="36116"/>
                    <a:pt x="78939" y="21669"/>
                  </a:cubicBezTo>
                  <a:cubicBezTo>
                    <a:pt x="103085" y="7223"/>
                    <a:pt x="129398" y="0"/>
                    <a:pt x="157877" y="0"/>
                  </a:cubicBezTo>
                  <a:close/>
                  <a:moveTo>
                    <a:pt x="159735" y="41481"/>
                  </a:moveTo>
                  <a:cubicBezTo>
                    <a:pt x="130842" y="41481"/>
                    <a:pt x="106077" y="50871"/>
                    <a:pt x="85440" y="69652"/>
                  </a:cubicBezTo>
                  <a:cubicBezTo>
                    <a:pt x="64802" y="88432"/>
                    <a:pt x="52420" y="113094"/>
                    <a:pt x="48292" y="143637"/>
                  </a:cubicBezTo>
                  <a:lnTo>
                    <a:pt x="263748" y="143637"/>
                  </a:lnTo>
                  <a:cubicBezTo>
                    <a:pt x="260446" y="113094"/>
                    <a:pt x="249921" y="88432"/>
                    <a:pt x="232172" y="69652"/>
                  </a:cubicBezTo>
                  <a:cubicBezTo>
                    <a:pt x="214424" y="50871"/>
                    <a:pt x="190278" y="41481"/>
                    <a:pt x="159735" y="4148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2977B035-ADE6-4A4C-86F9-E9355E9D8122}"/>
                </a:ext>
              </a:extLst>
            </p:cNvPr>
            <p:cNvSpPr txBox="1">
              <a:spLocks/>
            </p:cNvSpPr>
            <p:nvPr/>
          </p:nvSpPr>
          <p:spPr>
            <a:xfrm>
              <a:off x="3757128" y="2275917"/>
              <a:ext cx="170259" cy="327517"/>
            </a:xfrm>
            <a:custGeom>
              <a:avLst/>
              <a:gdLst/>
              <a:ahLst/>
              <a:cxnLst/>
              <a:rect l="l" t="t" r="r" b="b"/>
              <a:pathLst>
                <a:path w="170259" h="327517">
                  <a:moveTo>
                    <a:pt x="170259" y="0"/>
                  </a:moveTo>
                  <a:lnTo>
                    <a:pt x="170259" y="41481"/>
                  </a:lnTo>
                  <a:cubicBezTo>
                    <a:pt x="146320" y="41481"/>
                    <a:pt x="124960" y="46022"/>
                    <a:pt x="106180" y="55102"/>
                  </a:cubicBezTo>
                  <a:cubicBezTo>
                    <a:pt x="87400" y="64183"/>
                    <a:pt x="72747" y="76875"/>
                    <a:pt x="62222" y="93178"/>
                  </a:cubicBezTo>
                  <a:cubicBezTo>
                    <a:pt x="51697" y="109482"/>
                    <a:pt x="46434" y="127953"/>
                    <a:pt x="46434" y="148590"/>
                  </a:cubicBezTo>
                  <a:lnTo>
                    <a:pt x="46434" y="327517"/>
                  </a:lnTo>
                  <a:lnTo>
                    <a:pt x="0" y="327517"/>
                  </a:lnTo>
                  <a:lnTo>
                    <a:pt x="0" y="7430"/>
                  </a:lnTo>
                  <a:lnTo>
                    <a:pt x="46434" y="7430"/>
                  </a:lnTo>
                  <a:lnTo>
                    <a:pt x="46434" y="69961"/>
                  </a:lnTo>
                  <a:cubicBezTo>
                    <a:pt x="55927" y="48498"/>
                    <a:pt x="71612" y="31472"/>
                    <a:pt x="93488" y="18883"/>
                  </a:cubicBezTo>
                  <a:cubicBezTo>
                    <a:pt x="115364" y="6294"/>
                    <a:pt x="140954" y="0"/>
                    <a:pt x="17025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B5491C69-6B3D-4C4E-A712-AAE6470473FA}"/>
                </a:ext>
              </a:extLst>
            </p:cNvPr>
            <p:cNvSpPr txBox="1">
              <a:spLocks/>
            </p:cNvSpPr>
            <p:nvPr/>
          </p:nvSpPr>
          <p:spPr>
            <a:xfrm>
              <a:off x="3976917" y="2275917"/>
              <a:ext cx="329994" cy="334947"/>
            </a:xfrm>
            <a:custGeom>
              <a:avLst/>
              <a:gdLst/>
              <a:ahLst/>
              <a:cxnLst/>
              <a:rect l="l" t="t" r="r" b="b"/>
              <a:pathLst>
                <a:path w="329994" h="334947">
                  <a:moveTo>
                    <a:pt x="165307" y="0"/>
                  </a:moveTo>
                  <a:cubicBezTo>
                    <a:pt x="195025" y="0"/>
                    <a:pt x="222473" y="7533"/>
                    <a:pt x="247650" y="22598"/>
                  </a:cubicBezTo>
                  <a:cubicBezTo>
                    <a:pt x="272828" y="37663"/>
                    <a:pt x="292847" y="57991"/>
                    <a:pt x="307706" y="83582"/>
                  </a:cubicBezTo>
                  <a:cubicBezTo>
                    <a:pt x="322565" y="109172"/>
                    <a:pt x="329994" y="137033"/>
                    <a:pt x="329994" y="167164"/>
                  </a:cubicBezTo>
                  <a:cubicBezTo>
                    <a:pt x="329994" y="197295"/>
                    <a:pt x="322565" y="225258"/>
                    <a:pt x="307706" y="251055"/>
                  </a:cubicBezTo>
                  <a:cubicBezTo>
                    <a:pt x="292847" y="276852"/>
                    <a:pt x="272828" y="297283"/>
                    <a:pt x="247650" y="312349"/>
                  </a:cubicBezTo>
                  <a:cubicBezTo>
                    <a:pt x="222473" y="327414"/>
                    <a:pt x="195025" y="334947"/>
                    <a:pt x="165307" y="334947"/>
                  </a:cubicBezTo>
                  <a:cubicBezTo>
                    <a:pt x="135589" y="334947"/>
                    <a:pt x="108038" y="327414"/>
                    <a:pt x="82654" y="312349"/>
                  </a:cubicBezTo>
                  <a:cubicBezTo>
                    <a:pt x="57270" y="297283"/>
                    <a:pt x="37148" y="276852"/>
                    <a:pt x="22289" y="251055"/>
                  </a:cubicBezTo>
                  <a:cubicBezTo>
                    <a:pt x="7430" y="225258"/>
                    <a:pt x="0" y="197295"/>
                    <a:pt x="0" y="167164"/>
                  </a:cubicBezTo>
                  <a:cubicBezTo>
                    <a:pt x="0" y="137033"/>
                    <a:pt x="7430" y="109172"/>
                    <a:pt x="22289" y="83582"/>
                  </a:cubicBezTo>
                  <a:cubicBezTo>
                    <a:pt x="37148" y="57991"/>
                    <a:pt x="57270" y="37663"/>
                    <a:pt x="82654" y="22598"/>
                  </a:cubicBezTo>
                  <a:cubicBezTo>
                    <a:pt x="108038" y="7533"/>
                    <a:pt x="135589" y="0"/>
                    <a:pt x="165307" y="0"/>
                  </a:cubicBezTo>
                  <a:close/>
                  <a:moveTo>
                    <a:pt x="165307" y="41481"/>
                  </a:moveTo>
                  <a:cubicBezTo>
                    <a:pt x="144257" y="41481"/>
                    <a:pt x="124754" y="47157"/>
                    <a:pt x="106799" y="58507"/>
                  </a:cubicBezTo>
                  <a:cubicBezTo>
                    <a:pt x="88845" y="69858"/>
                    <a:pt x="74605" y="85130"/>
                    <a:pt x="64080" y="104323"/>
                  </a:cubicBezTo>
                  <a:cubicBezTo>
                    <a:pt x="53555" y="123515"/>
                    <a:pt x="48292" y="144463"/>
                    <a:pt x="48292" y="167164"/>
                  </a:cubicBezTo>
                  <a:cubicBezTo>
                    <a:pt x="48292" y="189865"/>
                    <a:pt x="53555" y="210915"/>
                    <a:pt x="64080" y="230314"/>
                  </a:cubicBezTo>
                  <a:cubicBezTo>
                    <a:pt x="74605" y="249714"/>
                    <a:pt x="88845" y="265089"/>
                    <a:pt x="106799" y="276439"/>
                  </a:cubicBezTo>
                  <a:cubicBezTo>
                    <a:pt x="124754" y="287790"/>
                    <a:pt x="144257" y="293465"/>
                    <a:pt x="165307" y="293465"/>
                  </a:cubicBezTo>
                  <a:cubicBezTo>
                    <a:pt x="186357" y="293465"/>
                    <a:pt x="205756" y="287790"/>
                    <a:pt x="223505" y="276439"/>
                  </a:cubicBezTo>
                  <a:cubicBezTo>
                    <a:pt x="241253" y="265089"/>
                    <a:pt x="255390" y="249714"/>
                    <a:pt x="265915" y="230314"/>
                  </a:cubicBezTo>
                  <a:cubicBezTo>
                    <a:pt x="276440" y="210915"/>
                    <a:pt x="281702" y="189865"/>
                    <a:pt x="281702" y="167164"/>
                  </a:cubicBezTo>
                  <a:cubicBezTo>
                    <a:pt x="281702" y="144463"/>
                    <a:pt x="276440" y="123515"/>
                    <a:pt x="265915" y="104323"/>
                  </a:cubicBezTo>
                  <a:cubicBezTo>
                    <a:pt x="255390" y="85130"/>
                    <a:pt x="241253" y="69858"/>
                    <a:pt x="223505" y="58507"/>
                  </a:cubicBezTo>
                  <a:cubicBezTo>
                    <a:pt x="205756" y="47157"/>
                    <a:pt x="186357" y="41481"/>
                    <a:pt x="165307" y="4148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ED07AB51-93C8-42B3-BDB7-A2C7B1E8F5E3}"/>
                </a:ext>
              </a:extLst>
            </p:cNvPr>
            <p:cNvSpPr txBox="1">
              <a:spLocks/>
            </p:cNvSpPr>
            <p:nvPr/>
          </p:nvSpPr>
          <p:spPr>
            <a:xfrm>
              <a:off x="4385778" y="2275917"/>
              <a:ext cx="310182" cy="434007"/>
            </a:xfrm>
            <a:custGeom>
              <a:avLst/>
              <a:gdLst/>
              <a:ahLst/>
              <a:cxnLst/>
              <a:rect l="l" t="t" r="r" b="b"/>
              <a:pathLst>
                <a:path w="310182" h="434007">
                  <a:moveTo>
                    <a:pt x="162830" y="0"/>
                  </a:moveTo>
                  <a:cubicBezTo>
                    <a:pt x="190484" y="0"/>
                    <a:pt x="215559" y="7120"/>
                    <a:pt x="238053" y="21360"/>
                  </a:cubicBezTo>
                  <a:cubicBezTo>
                    <a:pt x="260548" y="35600"/>
                    <a:pt x="278193" y="55412"/>
                    <a:pt x="290989" y="80796"/>
                  </a:cubicBezTo>
                  <a:cubicBezTo>
                    <a:pt x="303784" y="106180"/>
                    <a:pt x="310182" y="134969"/>
                    <a:pt x="310182" y="167164"/>
                  </a:cubicBezTo>
                  <a:cubicBezTo>
                    <a:pt x="310182" y="199358"/>
                    <a:pt x="303784" y="228251"/>
                    <a:pt x="290989" y="253841"/>
                  </a:cubicBezTo>
                  <a:cubicBezTo>
                    <a:pt x="278193" y="279432"/>
                    <a:pt x="260548" y="299347"/>
                    <a:pt x="238053" y="313587"/>
                  </a:cubicBezTo>
                  <a:cubicBezTo>
                    <a:pt x="215559" y="327827"/>
                    <a:pt x="190484" y="334947"/>
                    <a:pt x="162830" y="334947"/>
                  </a:cubicBezTo>
                  <a:cubicBezTo>
                    <a:pt x="137652" y="334947"/>
                    <a:pt x="115054" y="329065"/>
                    <a:pt x="95035" y="317302"/>
                  </a:cubicBezTo>
                  <a:cubicBezTo>
                    <a:pt x="75018" y="305538"/>
                    <a:pt x="58817" y="288925"/>
                    <a:pt x="46434" y="267462"/>
                  </a:cubicBezTo>
                  <a:lnTo>
                    <a:pt x="46434" y="434007"/>
                  </a:lnTo>
                  <a:lnTo>
                    <a:pt x="0" y="434007"/>
                  </a:lnTo>
                  <a:lnTo>
                    <a:pt x="0" y="7430"/>
                  </a:lnTo>
                  <a:lnTo>
                    <a:pt x="46434" y="7430"/>
                  </a:lnTo>
                  <a:lnTo>
                    <a:pt x="46434" y="67485"/>
                  </a:lnTo>
                  <a:cubicBezTo>
                    <a:pt x="58817" y="46022"/>
                    <a:pt x="75018" y="29408"/>
                    <a:pt x="95035" y="17645"/>
                  </a:cubicBezTo>
                  <a:cubicBezTo>
                    <a:pt x="115054" y="5882"/>
                    <a:pt x="137652" y="0"/>
                    <a:pt x="162830" y="0"/>
                  </a:cubicBezTo>
                  <a:close/>
                  <a:moveTo>
                    <a:pt x="154162" y="41481"/>
                  </a:moveTo>
                  <a:cubicBezTo>
                    <a:pt x="133525" y="41481"/>
                    <a:pt x="114951" y="46847"/>
                    <a:pt x="98441" y="57579"/>
                  </a:cubicBezTo>
                  <a:cubicBezTo>
                    <a:pt x="81931" y="68310"/>
                    <a:pt x="69136" y="83169"/>
                    <a:pt x="60055" y="102156"/>
                  </a:cubicBezTo>
                  <a:cubicBezTo>
                    <a:pt x="50974" y="121142"/>
                    <a:pt x="46434" y="142812"/>
                    <a:pt x="46434" y="167164"/>
                  </a:cubicBezTo>
                  <a:cubicBezTo>
                    <a:pt x="46434" y="191516"/>
                    <a:pt x="50974" y="213289"/>
                    <a:pt x="60055" y="232481"/>
                  </a:cubicBezTo>
                  <a:cubicBezTo>
                    <a:pt x="69136" y="251674"/>
                    <a:pt x="81931" y="266637"/>
                    <a:pt x="98441" y="277368"/>
                  </a:cubicBezTo>
                  <a:cubicBezTo>
                    <a:pt x="114951" y="288100"/>
                    <a:pt x="133525" y="293465"/>
                    <a:pt x="154162" y="293465"/>
                  </a:cubicBezTo>
                  <a:cubicBezTo>
                    <a:pt x="174799" y="293465"/>
                    <a:pt x="193270" y="288100"/>
                    <a:pt x="209574" y="277368"/>
                  </a:cubicBezTo>
                  <a:cubicBezTo>
                    <a:pt x="225877" y="266637"/>
                    <a:pt x="238569" y="251674"/>
                    <a:pt x="247650" y="232481"/>
                  </a:cubicBezTo>
                  <a:cubicBezTo>
                    <a:pt x="256731" y="213289"/>
                    <a:pt x="261271" y="191516"/>
                    <a:pt x="261271" y="167164"/>
                  </a:cubicBezTo>
                  <a:cubicBezTo>
                    <a:pt x="261271" y="142812"/>
                    <a:pt x="256731" y="121142"/>
                    <a:pt x="247650" y="102156"/>
                  </a:cubicBezTo>
                  <a:cubicBezTo>
                    <a:pt x="238569" y="83169"/>
                    <a:pt x="225877" y="68310"/>
                    <a:pt x="209574" y="57579"/>
                  </a:cubicBezTo>
                  <a:cubicBezTo>
                    <a:pt x="193270" y="46847"/>
                    <a:pt x="174799" y="41481"/>
                    <a:pt x="154162" y="4148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047A2D20-1802-410D-9F0E-D83DA9A2E647}"/>
                </a:ext>
              </a:extLst>
            </p:cNvPr>
            <p:cNvSpPr txBox="1">
              <a:spLocks/>
            </p:cNvSpPr>
            <p:nvPr/>
          </p:nvSpPr>
          <p:spPr>
            <a:xfrm>
              <a:off x="4748442" y="2275917"/>
              <a:ext cx="329994" cy="334947"/>
            </a:xfrm>
            <a:custGeom>
              <a:avLst/>
              <a:gdLst/>
              <a:ahLst/>
              <a:cxnLst/>
              <a:rect l="l" t="t" r="r" b="b"/>
              <a:pathLst>
                <a:path w="329994" h="334947">
                  <a:moveTo>
                    <a:pt x="165307" y="0"/>
                  </a:moveTo>
                  <a:cubicBezTo>
                    <a:pt x="195025" y="0"/>
                    <a:pt x="222472" y="7533"/>
                    <a:pt x="247651" y="22598"/>
                  </a:cubicBezTo>
                  <a:cubicBezTo>
                    <a:pt x="272828" y="37663"/>
                    <a:pt x="292847" y="57991"/>
                    <a:pt x="307706" y="83582"/>
                  </a:cubicBezTo>
                  <a:cubicBezTo>
                    <a:pt x="322565" y="109172"/>
                    <a:pt x="329994" y="137033"/>
                    <a:pt x="329994" y="167164"/>
                  </a:cubicBezTo>
                  <a:cubicBezTo>
                    <a:pt x="329994" y="197295"/>
                    <a:pt x="322565" y="225258"/>
                    <a:pt x="307706" y="251055"/>
                  </a:cubicBezTo>
                  <a:cubicBezTo>
                    <a:pt x="292847" y="276852"/>
                    <a:pt x="272828" y="297283"/>
                    <a:pt x="247651" y="312349"/>
                  </a:cubicBezTo>
                  <a:cubicBezTo>
                    <a:pt x="222472" y="327414"/>
                    <a:pt x="195025" y="334947"/>
                    <a:pt x="165307" y="334947"/>
                  </a:cubicBezTo>
                  <a:cubicBezTo>
                    <a:pt x="135589" y="334947"/>
                    <a:pt x="108038" y="327414"/>
                    <a:pt x="82654" y="312349"/>
                  </a:cubicBezTo>
                  <a:cubicBezTo>
                    <a:pt x="57269" y="297283"/>
                    <a:pt x="37148" y="276852"/>
                    <a:pt x="22289" y="251055"/>
                  </a:cubicBezTo>
                  <a:cubicBezTo>
                    <a:pt x="7430" y="225258"/>
                    <a:pt x="0" y="197295"/>
                    <a:pt x="0" y="167164"/>
                  </a:cubicBezTo>
                  <a:cubicBezTo>
                    <a:pt x="0" y="137033"/>
                    <a:pt x="7430" y="109172"/>
                    <a:pt x="22289" y="83582"/>
                  </a:cubicBezTo>
                  <a:cubicBezTo>
                    <a:pt x="37148" y="57991"/>
                    <a:pt x="57269" y="37663"/>
                    <a:pt x="82654" y="22598"/>
                  </a:cubicBezTo>
                  <a:cubicBezTo>
                    <a:pt x="108038" y="7533"/>
                    <a:pt x="135589" y="0"/>
                    <a:pt x="165307" y="0"/>
                  </a:cubicBezTo>
                  <a:close/>
                  <a:moveTo>
                    <a:pt x="165307" y="41481"/>
                  </a:moveTo>
                  <a:cubicBezTo>
                    <a:pt x="144257" y="41481"/>
                    <a:pt x="124754" y="47157"/>
                    <a:pt x="106800" y="58507"/>
                  </a:cubicBezTo>
                  <a:cubicBezTo>
                    <a:pt x="88845" y="69858"/>
                    <a:pt x="74605" y="85130"/>
                    <a:pt x="64080" y="104323"/>
                  </a:cubicBezTo>
                  <a:cubicBezTo>
                    <a:pt x="53555" y="123515"/>
                    <a:pt x="48292" y="144463"/>
                    <a:pt x="48292" y="167164"/>
                  </a:cubicBezTo>
                  <a:cubicBezTo>
                    <a:pt x="48292" y="189865"/>
                    <a:pt x="53555" y="210915"/>
                    <a:pt x="64080" y="230314"/>
                  </a:cubicBezTo>
                  <a:cubicBezTo>
                    <a:pt x="74605" y="249714"/>
                    <a:pt x="88845" y="265089"/>
                    <a:pt x="106800" y="276439"/>
                  </a:cubicBezTo>
                  <a:cubicBezTo>
                    <a:pt x="124754" y="287790"/>
                    <a:pt x="144257" y="293465"/>
                    <a:pt x="165307" y="293465"/>
                  </a:cubicBezTo>
                  <a:cubicBezTo>
                    <a:pt x="186357" y="293465"/>
                    <a:pt x="205756" y="287790"/>
                    <a:pt x="223505" y="276439"/>
                  </a:cubicBezTo>
                  <a:cubicBezTo>
                    <a:pt x="241253" y="265089"/>
                    <a:pt x="255390" y="249714"/>
                    <a:pt x="265915" y="230314"/>
                  </a:cubicBezTo>
                  <a:cubicBezTo>
                    <a:pt x="276440" y="210915"/>
                    <a:pt x="281702" y="189865"/>
                    <a:pt x="281702" y="167164"/>
                  </a:cubicBezTo>
                  <a:cubicBezTo>
                    <a:pt x="281702" y="144463"/>
                    <a:pt x="276440" y="123515"/>
                    <a:pt x="265915" y="104323"/>
                  </a:cubicBezTo>
                  <a:cubicBezTo>
                    <a:pt x="255390" y="85130"/>
                    <a:pt x="241253" y="69858"/>
                    <a:pt x="223505" y="58507"/>
                  </a:cubicBezTo>
                  <a:cubicBezTo>
                    <a:pt x="205756" y="47157"/>
                    <a:pt x="186357" y="41481"/>
                    <a:pt x="165307" y="4148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C0F960C2-D281-4BC9-BACA-B4004C0AB29F}"/>
                </a:ext>
              </a:extLst>
            </p:cNvPr>
            <p:cNvSpPr txBox="1">
              <a:spLocks/>
            </p:cNvSpPr>
            <p:nvPr/>
          </p:nvSpPr>
          <p:spPr>
            <a:xfrm>
              <a:off x="5428671" y="2275917"/>
              <a:ext cx="249506" cy="334947"/>
            </a:xfrm>
            <a:custGeom>
              <a:avLst/>
              <a:gdLst/>
              <a:ahLst/>
              <a:cxnLst/>
              <a:rect l="l" t="t" r="r" b="b"/>
              <a:pathLst>
                <a:path w="249506" h="334947">
                  <a:moveTo>
                    <a:pt x="127539" y="0"/>
                  </a:moveTo>
                  <a:cubicBezTo>
                    <a:pt x="146938" y="0"/>
                    <a:pt x="166544" y="3199"/>
                    <a:pt x="186356" y="9596"/>
                  </a:cubicBezTo>
                  <a:cubicBezTo>
                    <a:pt x="206168" y="15994"/>
                    <a:pt x="224742" y="24765"/>
                    <a:pt x="242077" y="35909"/>
                  </a:cubicBezTo>
                  <a:lnTo>
                    <a:pt x="219789" y="71819"/>
                  </a:lnTo>
                  <a:cubicBezTo>
                    <a:pt x="188007" y="51594"/>
                    <a:pt x="157257" y="41481"/>
                    <a:pt x="127539" y="41481"/>
                  </a:cubicBezTo>
                  <a:cubicBezTo>
                    <a:pt x="108553" y="41481"/>
                    <a:pt x="92868" y="45609"/>
                    <a:pt x="80486" y="53864"/>
                  </a:cubicBezTo>
                  <a:cubicBezTo>
                    <a:pt x="68103" y="62119"/>
                    <a:pt x="61912" y="73676"/>
                    <a:pt x="61912" y="88535"/>
                  </a:cubicBezTo>
                  <a:cubicBezTo>
                    <a:pt x="61912" y="97615"/>
                    <a:pt x="64594" y="105045"/>
                    <a:pt x="69960" y="110823"/>
                  </a:cubicBezTo>
                  <a:cubicBezTo>
                    <a:pt x="75326" y="116602"/>
                    <a:pt x="83375" y="121761"/>
                    <a:pt x="94107" y="126302"/>
                  </a:cubicBezTo>
                  <a:cubicBezTo>
                    <a:pt x="104838" y="130842"/>
                    <a:pt x="121761" y="136827"/>
                    <a:pt x="144875" y="144256"/>
                  </a:cubicBezTo>
                  <a:cubicBezTo>
                    <a:pt x="167576" y="151273"/>
                    <a:pt x="185943" y="158083"/>
                    <a:pt x="199977" y="164687"/>
                  </a:cubicBezTo>
                  <a:cubicBezTo>
                    <a:pt x="214010" y="171291"/>
                    <a:pt x="225774" y="180475"/>
                    <a:pt x="235267" y="192238"/>
                  </a:cubicBezTo>
                  <a:cubicBezTo>
                    <a:pt x="244760" y="204002"/>
                    <a:pt x="249506" y="219377"/>
                    <a:pt x="249506" y="238363"/>
                  </a:cubicBezTo>
                  <a:cubicBezTo>
                    <a:pt x="249506" y="267256"/>
                    <a:pt x="238466" y="290576"/>
                    <a:pt x="216383" y="308324"/>
                  </a:cubicBezTo>
                  <a:cubicBezTo>
                    <a:pt x="194301" y="326073"/>
                    <a:pt x="166338" y="334947"/>
                    <a:pt x="132492" y="334947"/>
                  </a:cubicBezTo>
                  <a:cubicBezTo>
                    <a:pt x="109791" y="334947"/>
                    <a:pt x="86780" y="330819"/>
                    <a:pt x="63460" y="322564"/>
                  </a:cubicBezTo>
                  <a:cubicBezTo>
                    <a:pt x="40139" y="314309"/>
                    <a:pt x="18986" y="302546"/>
                    <a:pt x="0" y="287274"/>
                  </a:cubicBezTo>
                  <a:lnTo>
                    <a:pt x="24145" y="253222"/>
                  </a:lnTo>
                  <a:cubicBezTo>
                    <a:pt x="60880" y="280051"/>
                    <a:pt x="96995" y="293465"/>
                    <a:pt x="132492" y="293465"/>
                  </a:cubicBezTo>
                  <a:cubicBezTo>
                    <a:pt x="153543" y="293465"/>
                    <a:pt x="170568" y="288925"/>
                    <a:pt x="183570" y="279845"/>
                  </a:cubicBezTo>
                  <a:cubicBezTo>
                    <a:pt x="196572" y="270764"/>
                    <a:pt x="203073" y="258588"/>
                    <a:pt x="203073" y="243316"/>
                  </a:cubicBezTo>
                  <a:cubicBezTo>
                    <a:pt x="203073" y="232585"/>
                    <a:pt x="199564" y="223607"/>
                    <a:pt x="192547" y="216384"/>
                  </a:cubicBezTo>
                  <a:cubicBezTo>
                    <a:pt x="185531" y="209161"/>
                    <a:pt x="176760" y="203486"/>
                    <a:pt x="166235" y="199358"/>
                  </a:cubicBezTo>
                  <a:cubicBezTo>
                    <a:pt x="155709" y="195231"/>
                    <a:pt x="141160" y="190484"/>
                    <a:pt x="122586" y="185118"/>
                  </a:cubicBezTo>
                  <a:cubicBezTo>
                    <a:pt x="83375" y="173974"/>
                    <a:pt x="55721" y="161695"/>
                    <a:pt x="39624" y="148280"/>
                  </a:cubicBezTo>
                  <a:cubicBezTo>
                    <a:pt x="23526" y="134866"/>
                    <a:pt x="15478" y="116808"/>
                    <a:pt x="15478" y="94107"/>
                  </a:cubicBezTo>
                  <a:cubicBezTo>
                    <a:pt x="15478" y="65627"/>
                    <a:pt x="26003" y="42823"/>
                    <a:pt x="47053" y="25694"/>
                  </a:cubicBezTo>
                  <a:cubicBezTo>
                    <a:pt x="68103" y="8565"/>
                    <a:pt x="94932" y="0"/>
                    <a:pt x="12753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EAD02CAE-EA62-46F9-AF21-428066FCE7DE}"/>
                </a:ext>
              </a:extLst>
            </p:cNvPr>
            <p:cNvSpPr txBox="1">
              <a:spLocks/>
            </p:cNvSpPr>
            <p:nvPr/>
          </p:nvSpPr>
          <p:spPr>
            <a:xfrm>
              <a:off x="5309703" y="2283347"/>
              <a:ext cx="46435" cy="320087"/>
            </a:xfrm>
            <a:custGeom>
              <a:avLst/>
              <a:gdLst/>
              <a:ahLst/>
              <a:cxnLst/>
              <a:rect l="l" t="t" r="r" b="b"/>
              <a:pathLst>
                <a:path w="46435" h="320087">
                  <a:moveTo>
                    <a:pt x="0" y="0"/>
                  </a:moveTo>
                  <a:lnTo>
                    <a:pt x="46435" y="0"/>
                  </a:lnTo>
                  <a:lnTo>
                    <a:pt x="46435" y="320087"/>
                  </a:lnTo>
                  <a:lnTo>
                    <a:pt x="0" y="32008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879766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0" name="Group 59">
            <a:extLst>
              <a:ext uri="{FF2B5EF4-FFF2-40B4-BE49-F238E27FC236}">
                <a16:creationId xmlns:a16="http://schemas.microsoft.com/office/drawing/2014/main" id="{8442F8FF-5DB1-44B3-AF2C-1A531EA36FEA}"/>
              </a:ext>
            </a:extLst>
          </p:cNvPr>
          <p:cNvGrpSpPr/>
          <p:nvPr userDrawn="1"/>
        </p:nvGrpSpPr>
        <p:grpSpPr bwMode="gray">
          <a:xfrm>
            <a:off x="0" y="0"/>
            <a:ext cx="12188826" cy="6858004"/>
            <a:chOff x="0" y="-4"/>
            <a:chExt cx="12188826" cy="6858004"/>
          </a:xfrm>
        </p:grpSpPr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E2F285D2-B641-461F-87F0-20A9C65B2EF7}"/>
                </a:ext>
              </a:extLst>
            </p:cNvPr>
            <p:cNvGrpSpPr/>
            <p:nvPr/>
          </p:nvGrpSpPr>
          <p:grpSpPr bwMode="gray">
            <a:xfrm>
              <a:off x="609441" y="1600198"/>
              <a:ext cx="10055941" cy="4580469"/>
              <a:chOff x="609441" y="1600198"/>
              <a:chExt cx="10055941" cy="4580469"/>
            </a:xfrm>
          </p:grpSpPr>
          <p:sp>
            <p:nvSpPr>
              <p:cNvPr id="110" name="Rectangle 109">
                <a:extLst>
                  <a:ext uri="{FF2B5EF4-FFF2-40B4-BE49-F238E27FC236}">
                    <a16:creationId xmlns:a16="http://schemas.microsoft.com/office/drawing/2014/main" id="{115EE1AC-AAA1-4CAF-886B-474B1A0C95C4}"/>
                  </a:ext>
                </a:extLst>
              </p:cNvPr>
              <p:cNvSpPr/>
              <p:nvPr/>
            </p:nvSpPr>
            <p:spPr bwMode="gray">
              <a:xfrm>
                <a:off x="609441" y="1600199"/>
                <a:ext cx="914203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11" name="Rectangle 110">
                <a:extLst>
                  <a:ext uri="{FF2B5EF4-FFF2-40B4-BE49-F238E27FC236}">
                    <a16:creationId xmlns:a16="http://schemas.microsoft.com/office/drawing/2014/main" id="{7037B7F2-249C-4DB7-A4FF-AD7E08892A0F}"/>
                  </a:ext>
                </a:extLst>
              </p:cNvPr>
              <p:cNvSpPr/>
              <p:nvPr/>
            </p:nvSpPr>
            <p:spPr bwMode="gray">
              <a:xfrm>
                <a:off x="2436448" y="1600198"/>
                <a:ext cx="915282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12" name="Rectangle 111">
                <a:extLst>
                  <a:ext uri="{FF2B5EF4-FFF2-40B4-BE49-F238E27FC236}">
                    <a16:creationId xmlns:a16="http://schemas.microsoft.com/office/drawing/2014/main" id="{6B02FE08-2379-4E6C-AE27-D7D2ECAB18B8}"/>
                  </a:ext>
                </a:extLst>
              </p:cNvPr>
              <p:cNvSpPr/>
              <p:nvPr/>
            </p:nvSpPr>
            <p:spPr bwMode="gray">
              <a:xfrm>
                <a:off x="4263453" y="1600198"/>
                <a:ext cx="920909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13" name="Rectangle 112">
                <a:extLst>
                  <a:ext uri="{FF2B5EF4-FFF2-40B4-BE49-F238E27FC236}">
                    <a16:creationId xmlns:a16="http://schemas.microsoft.com/office/drawing/2014/main" id="{D7C17E9A-3B70-4668-8EAE-9C7D73BACCA1}"/>
                  </a:ext>
                </a:extLst>
              </p:cNvPr>
              <p:cNvSpPr/>
              <p:nvPr/>
            </p:nvSpPr>
            <p:spPr bwMode="gray">
              <a:xfrm>
                <a:off x="6090459" y="1600198"/>
                <a:ext cx="920909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14" name="Rectangle 113">
                <a:extLst>
                  <a:ext uri="{FF2B5EF4-FFF2-40B4-BE49-F238E27FC236}">
                    <a16:creationId xmlns:a16="http://schemas.microsoft.com/office/drawing/2014/main" id="{E02751E5-34AD-4357-BC67-2269F668FD57}"/>
                  </a:ext>
                </a:extLst>
              </p:cNvPr>
              <p:cNvSpPr/>
              <p:nvPr/>
            </p:nvSpPr>
            <p:spPr bwMode="gray">
              <a:xfrm>
                <a:off x="7921943" y="1600198"/>
                <a:ext cx="916431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15" name="Rectangle 114">
                <a:extLst>
                  <a:ext uri="{FF2B5EF4-FFF2-40B4-BE49-F238E27FC236}">
                    <a16:creationId xmlns:a16="http://schemas.microsoft.com/office/drawing/2014/main" id="{452A85DA-B39F-40AB-B423-9F7CCB3D0D63}"/>
                  </a:ext>
                </a:extLst>
              </p:cNvPr>
              <p:cNvSpPr/>
              <p:nvPr/>
            </p:nvSpPr>
            <p:spPr bwMode="gray">
              <a:xfrm>
                <a:off x="9750028" y="1600198"/>
                <a:ext cx="915354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C5C1459D-4F6E-4671-8566-3143311EA541}"/>
                </a:ext>
              </a:extLst>
            </p:cNvPr>
            <p:cNvGrpSpPr/>
            <p:nvPr userDrawn="1"/>
          </p:nvGrpSpPr>
          <p:grpSpPr bwMode="gray">
            <a:xfrm>
              <a:off x="0" y="-4"/>
              <a:ext cx="12188826" cy="6858004"/>
              <a:chOff x="0" y="-4"/>
              <a:chExt cx="12188826" cy="6858004"/>
            </a:xfrm>
          </p:grpSpPr>
          <p:grpSp>
            <p:nvGrpSpPr>
              <p:cNvPr id="63" name="Group 62">
                <a:extLst>
                  <a:ext uri="{FF2B5EF4-FFF2-40B4-BE49-F238E27FC236}">
                    <a16:creationId xmlns:a16="http://schemas.microsoft.com/office/drawing/2014/main" id="{015AFD00-19E3-4F92-9570-1F3E8AEC3EC4}"/>
                  </a:ext>
                </a:extLst>
              </p:cNvPr>
              <p:cNvGrpSpPr/>
              <p:nvPr>
                <p:custDataLst>
                  <p:tags r:id="rId1"/>
                </p:custDataLst>
              </p:nvPr>
            </p:nvGrpSpPr>
            <p:grpSpPr bwMode="gray">
              <a:xfrm>
                <a:off x="0" y="-4"/>
                <a:ext cx="12188826" cy="6858004"/>
                <a:chOff x="0" y="1"/>
                <a:chExt cx="12188826" cy="6858004"/>
              </a:xfrm>
            </p:grpSpPr>
            <p:grpSp>
              <p:nvGrpSpPr>
                <p:cNvPr id="65" name="Group 64">
                  <a:extLst>
                    <a:ext uri="{FF2B5EF4-FFF2-40B4-BE49-F238E27FC236}">
                      <a16:creationId xmlns:a16="http://schemas.microsoft.com/office/drawing/2014/main" id="{56B51E9A-9BC0-4A23-95C7-9E14C94FDF8A}"/>
                    </a:ext>
                  </a:extLst>
                </p:cNvPr>
                <p:cNvGrpSpPr/>
                <p:nvPr/>
              </p:nvGrpSpPr>
              <p:grpSpPr bwMode="gray">
                <a:xfrm>
                  <a:off x="609601" y="2684"/>
                  <a:ext cx="10962504" cy="6855315"/>
                  <a:chOff x="0" y="0"/>
                  <a:chExt cx="10962504" cy="6858000"/>
                </a:xfrm>
              </p:grpSpPr>
              <p:cxnSp>
                <p:nvCxnSpPr>
                  <p:cNvPr id="85" name="Straight Connector 84">
                    <a:extLst>
                      <a:ext uri="{FF2B5EF4-FFF2-40B4-BE49-F238E27FC236}">
                        <a16:creationId xmlns:a16="http://schemas.microsoft.com/office/drawing/2014/main" id="{5B6B4CFD-041A-4081-89A4-C2B194E6465E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0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6" name="Straight Connector 85">
                    <a:extLst>
                      <a:ext uri="{FF2B5EF4-FFF2-40B4-BE49-F238E27FC236}">
                        <a16:creationId xmlns:a16="http://schemas.microsoft.com/office/drawing/2014/main" id="{C63B978F-4215-434A-A0BE-E77776CE37B1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914043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7" name="Straight Connector 86">
                    <a:extLst>
                      <a:ext uri="{FF2B5EF4-FFF2-40B4-BE49-F238E27FC236}">
                        <a16:creationId xmlns:a16="http://schemas.microsoft.com/office/drawing/2014/main" id="{09EEB78C-3DA9-4AD7-BFB1-207EDE403F9D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1371064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8" name="Straight Connector 87">
                    <a:extLst>
                      <a:ext uri="{FF2B5EF4-FFF2-40B4-BE49-F238E27FC236}">
                        <a16:creationId xmlns:a16="http://schemas.microsoft.com/office/drawing/2014/main" id="{F062D7CE-4A4A-4C41-833F-B30B3E74AEAC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1828085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9" name="Straight Connector 88">
                    <a:extLst>
                      <a:ext uri="{FF2B5EF4-FFF2-40B4-BE49-F238E27FC236}">
                        <a16:creationId xmlns:a16="http://schemas.microsoft.com/office/drawing/2014/main" id="{19C628EF-969E-4429-A992-9AD0AFECF81E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2285107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0" name="Straight Connector 89">
                    <a:extLst>
                      <a:ext uri="{FF2B5EF4-FFF2-40B4-BE49-F238E27FC236}">
                        <a16:creationId xmlns:a16="http://schemas.microsoft.com/office/drawing/2014/main" id="{8C7BD383-0D5C-4E3A-99F7-4DC5A51DF948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2742128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1" name="Straight Connector 90">
                    <a:extLst>
                      <a:ext uri="{FF2B5EF4-FFF2-40B4-BE49-F238E27FC236}">
                        <a16:creationId xmlns:a16="http://schemas.microsoft.com/office/drawing/2014/main" id="{FAA2EE63-4F24-4A26-9268-D15D92D5B068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3199149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2" name="Straight Connector 91">
                    <a:extLst>
                      <a:ext uri="{FF2B5EF4-FFF2-40B4-BE49-F238E27FC236}">
                        <a16:creationId xmlns:a16="http://schemas.microsoft.com/office/drawing/2014/main" id="{F64BB08D-864A-44D4-88F6-679DBAE518B7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3656171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3" name="Straight Connector 92">
                    <a:extLst>
                      <a:ext uri="{FF2B5EF4-FFF2-40B4-BE49-F238E27FC236}">
                        <a16:creationId xmlns:a16="http://schemas.microsoft.com/office/drawing/2014/main" id="{9FA3F8A1-60DA-47E1-92DD-967475B2DF58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4113192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4" name="Straight Connector 93">
                    <a:extLst>
                      <a:ext uri="{FF2B5EF4-FFF2-40B4-BE49-F238E27FC236}">
                        <a16:creationId xmlns:a16="http://schemas.microsoft.com/office/drawing/2014/main" id="{4DECF40D-CC60-45F8-B236-F9FAC1F3E8CF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4570213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5" name="Straight Connector 94">
                    <a:extLst>
                      <a:ext uri="{FF2B5EF4-FFF2-40B4-BE49-F238E27FC236}">
                        <a16:creationId xmlns:a16="http://schemas.microsoft.com/office/drawing/2014/main" id="{623BAEC6-A3C2-4892-9093-BD8EA8A7E0F6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5027235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6" name="Straight Connector 95">
                    <a:extLst>
                      <a:ext uri="{FF2B5EF4-FFF2-40B4-BE49-F238E27FC236}">
                        <a16:creationId xmlns:a16="http://schemas.microsoft.com/office/drawing/2014/main" id="{D4E16FB9-EDCA-4CA6-9212-0AEBFCE175D7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5484256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7" name="Straight Connector 96">
                    <a:extLst>
                      <a:ext uri="{FF2B5EF4-FFF2-40B4-BE49-F238E27FC236}">
                        <a16:creationId xmlns:a16="http://schemas.microsoft.com/office/drawing/2014/main" id="{F3AE637F-804F-4244-9AA9-FF4A629A143C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5941277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8" name="Straight Connector 97">
                    <a:extLst>
                      <a:ext uri="{FF2B5EF4-FFF2-40B4-BE49-F238E27FC236}">
                        <a16:creationId xmlns:a16="http://schemas.microsoft.com/office/drawing/2014/main" id="{5EFB8414-3949-428A-B700-7C38A44425B2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6398299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9" name="Straight Connector 98">
                    <a:extLst>
                      <a:ext uri="{FF2B5EF4-FFF2-40B4-BE49-F238E27FC236}">
                        <a16:creationId xmlns:a16="http://schemas.microsoft.com/office/drawing/2014/main" id="{BA61D1AB-B7D2-4169-B38F-56371D50E1DA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6855320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0" name="Straight Connector 99">
                    <a:extLst>
                      <a:ext uri="{FF2B5EF4-FFF2-40B4-BE49-F238E27FC236}">
                        <a16:creationId xmlns:a16="http://schemas.microsoft.com/office/drawing/2014/main" id="{D00C4593-A442-4B6C-8E9D-80BFEB1746D6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7312342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1" name="Straight Connector 100">
                    <a:extLst>
                      <a:ext uri="{FF2B5EF4-FFF2-40B4-BE49-F238E27FC236}">
                        <a16:creationId xmlns:a16="http://schemas.microsoft.com/office/drawing/2014/main" id="{95B5E413-FAFF-430F-B105-4D122D50AEE1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7769363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2" name="Straight Connector 101">
                    <a:extLst>
                      <a:ext uri="{FF2B5EF4-FFF2-40B4-BE49-F238E27FC236}">
                        <a16:creationId xmlns:a16="http://schemas.microsoft.com/office/drawing/2014/main" id="{2B845328-662D-4D12-A209-6A0B1E78DF14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8226384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3" name="Straight Connector 102">
                    <a:extLst>
                      <a:ext uri="{FF2B5EF4-FFF2-40B4-BE49-F238E27FC236}">
                        <a16:creationId xmlns:a16="http://schemas.microsoft.com/office/drawing/2014/main" id="{2AC19B5D-D919-4A48-953C-03994329E19B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9140427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4" name="Straight Connector 103">
                    <a:extLst>
                      <a:ext uri="{FF2B5EF4-FFF2-40B4-BE49-F238E27FC236}">
                        <a16:creationId xmlns:a16="http://schemas.microsoft.com/office/drawing/2014/main" id="{AC81C8DC-CB2F-445A-8F7B-5A864393B553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8683406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5" name="Straight Connector 104">
                    <a:extLst>
                      <a:ext uri="{FF2B5EF4-FFF2-40B4-BE49-F238E27FC236}">
                        <a16:creationId xmlns:a16="http://schemas.microsoft.com/office/drawing/2014/main" id="{F3CD9F68-6C35-4B43-B8E1-1ABF75D8D588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9597448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6" name="Straight Connector 105">
                    <a:extLst>
                      <a:ext uri="{FF2B5EF4-FFF2-40B4-BE49-F238E27FC236}">
                        <a16:creationId xmlns:a16="http://schemas.microsoft.com/office/drawing/2014/main" id="{BBBCE95B-721C-44A5-8B94-8F0E42FF53FE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10054470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7" name="Straight Connector 106">
                    <a:extLst>
                      <a:ext uri="{FF2B5EF4-FFF2-40B4-BE49-F238E27FC236}">
                        <a16:creationId xmlns:a16="http://schemas.microsoft.com/office/drawing/2014/main" id="{3B934F61-1ED7-4209-A1E3-04C68085B10E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10511491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8" name="Straight Connector 107">
                    <a:extLst>
                      <a:ext uri="{FF2B5EF4-FFF2-40B4-BE49-F238E27FC236}">
                        <a16:creationId xmlns:a16="http://schemas.microsoft.com/office/drawing/2014/main" id="{8F636E46-095E-439D-B78B-EBC72DB23290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457021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9" name="Straight Connector 108">
                    <a:extLst>
                      <a:ext uri="{FF2B5EF4-FFF2-40B4-BE49-F238E27FC236}">
                        <a16:creationId xmlns:a16="http://schemas.microsoft.com/office/drawing/2014/main" id="{61497272-E949-488B-B9F6-FD10BA6526BF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10962504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66" name="Group 65">
                  <a:extLst>
                    <a:ext uri="{FF2B5EF4-FFF2-40B4-BE49-F238E27FC236}">
                      <a16:creationId xmlns:a16="http://schemas.microsoft.com/office/drawing/2014/main" id="{B645DFBA-090A-4E89-BFE2-570C1D04D7A5}"/>
                    </a:ext>
                  </a:extLst>
                </p:cNvPr>
                <p:cNvGrpSpPr/>
                <p:nvPr/>
              </p:nvGrpSpPr>
              <p:grpSpPr bwMode="gray">
                <a:xfrm>
                  <a:off x="0" y="1"/>
                  <a:ext cx="12188826" cy="6858004"/>
                  <a:chOff x="0" y="1"/>
                  <a:chExt cx="12188826" cy="6858004"/>
                </a:xfrm>
              </p:grpSpPr>
              <p:cxnSp>
                <p:nvCxnSpPr>
                  <p:cNvPr id="67" name="Straight Connector 66">
                    <a:extLst>
                      <a:ext uri="{FF2B5EF4-FFF2-40B4-BE49-F238E27FC236}">
                        <a16:creationId xmlns:a16="http://schemas.microsoft.com/office/drawing/2014/main" id="{E34689D4-9BAE-40BF-B953-E1A0CA4F5C15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6094412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8" name="Straight Connector 67">
                    <a:extLst>
                      <a:ext uri="{FF2B5EF4-FFF2-40B4-BE49-F238E27FC236}">
                        <a16:creationId xmlns:a16="http://schemas.microsoft.com/office/drawing/2014/main" id="{674A3364-6F4C-4749-A110-B336801330E0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5637211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9" name="Straight Connector 68">
                    <a:extLst>
                      <a:ext uri="{FF2B5EF4-FFF2-40B4-BE49-F238E27FC236}">
                        <a16:creationId xmlns:a16="http://schemas.microsoft.com/office/drawing/2014/main" id="{690EC6B6-039D-4549-B1B1-8FF8A3FC2F66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5180011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0" name="Straight Connector 69">
                    <a:extLst>
                      <a:ext uri="{FF2B5EF4-FFF2-40B4-BE49-F238E27FC236}">
                        <a16:creationId xmlns:a16="http://schemas.microsoft.com/office/drawing/2014/main" id="{155F4FAC-9412-45E9-99EC-FDC351D60453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31202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1" name="Straight Connector 70">
                    <a:extLst>
                      <a:ext uri="{FF2B5EF4-FFF2-40B4-BE49-F238E27FC236}">
                        <a16:creationId xmlns:a16="http://schemas.microsoft.com/office/drawing/2014/main" id="{5A0C0A33-67B3-48C9-9B83-C39DFDEF5E0A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26630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2" name="Straight Connector 71">
                    <a:extLst>
                      <a:ext uri="{FF2B5EF4-FFF2-40B4-BE49-F238E27FC236}">
                        <a16:creationId xmlns:a16="http://schemas.microsoft.com/office/drawing/2014/main" id="{A87FF284-D960-4A05-8053-9886608C6599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22058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3" name="Straight Connector 72">
                    <a:extLst>
                      <a:ext uri="{FF2B5EF4-FFF2-40B4-BE49-F238E27FC236}">
                        <a16:creationId xmlns:a16="http://schemas.microsoft.com/office/drawing/2014/main" id="{6BA61019-342C-4EDD-97C6-EDA59774644E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17486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4" name="Straight Connector 73">
                    <a:extLst>
                      <a:ext uri="{FF2B5EF4-FFF2-40B4-BE49-F238E27FC236}">
                        <a16:creationId xmlns:a16="http://schemas.microsoft.com/office/drawing/2014/main" id="{234785CB-17D0-49DD-8DC9-3C93626DC776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1291437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5" name="Straight Connector 74">
                    <a:extLst>
                      <a:ext uri="{FF2B5EF4-FFF2-40B4-BE49-F238E27FC236}">
                        <a16:creationId xmlns:a16="http://schemas.microsoft.com/office/drawing/2014/main" id="{425DB222-E3A0-48A3-BBD5-FD2616577D2D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834237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6" name="Straight Connector 75">
                    <a:extLst>
                      <a:ext uri="{FF2B5EF4-FFF2-40B4-BE49-F238E27FC236}">
                        <a16:creationId xmlns:a16="http://schemas.microsoft.com/office/drawing/2014/main" id="{C433E4E5-A945-4652-B574-37C6580344B0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gray">
                  <a:xfrm flipH="1">
                    <a:off x="1" y="5717376"/>
                    <a:ext cx="12188825" cy="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7" name="Straight Connector 76">
                    <a:extLst>
                      <a:ext uri="{FF2B5EF4-FFF2-40B4-BE49-F238E27FC236}">
                        <a16:creationId xmlns:a16="http://schemas.microsoft.com/office/drawing/2014/main" id="{352A597B-2B35-4BD4-B07E-D8CEF25A597D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763592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8" name="Straight Connector 77">
                    <a:extLst>
                      <a:ext uri="{FF2B5EF4-FFF2-40B4-BE49-F238E27FC236}">
                        <a16:creationId xmlns:a16="http://schemas.microsoft.com/office/drawing/2014/main" id="{9351C336-9D65-42C9-A33F-6971E6322E46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5637212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9" name="Straight Connector 78">
                    <a:extLst>
                      <a:ext uri="{FF2B5EF4-FFF2-40B4-BE49-F238E27FC236}">
                        <a16:creationId xmlns:a16="http://schemas.microsoft.com/office/drawing/2014/main" id="{FCAD9518-36D4-43F7-839D-D8FE389DF1F1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4951411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0" name="Straight Connector 79">
                    <a:extLst>
                      <a:ext uri="{FF2B5EF4-FFF2-40B4-BE49-F238E27FC236}">
                        <a16:creationId xmlns:a16="http://schemas.microsoft.com/office/drawing/2014/main" id="{55575B3F-2A8B-4175-B6A5-D60652B87ED0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86257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1" name="Straight Connector 80">
                    <a:extLst>
                      <a:ext uri="{FF2B5EF4-FFF2-40B4-BE49-F238E27FC236}">
                        <a16:creationId xmlns:a16="http://schemas.microsoft.com/office/drawing/2014/main" id="{1CCC90FC-8476-4A2A-8DF1-ECAB053A24FD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30638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2" name="Straight Connector 81">
                    <a:extLst>
                      <a:ext uri="{FF2B5EF4-FFF2-40B4-BE49-F238E27FC236}">
                        <a16:creationId xmlns:a16="http://schemas.microsoft.com/office/drawing/2014/main" id="{DFB03C8E-4661-465A-B25F-147D497525A0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40346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3" name="Straight Connector 82">
                    <a:extLst>
                      <a:ext uri="{FF2B5EF4-FFF2-40B4-BE49-F238E27FC236}">
                        <a16:creationId xmlns:a16="http://schemas.microsoft.com/office/drawing/2014/main" id="{88C8E030-5491-4C40-9E10-B197BD5CD587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35774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4" name="Straight Connector 83">
                    <a:extLst>
                      <a:ext uri="{FF2B5EF4-FFF2-40B4-BE49-F238E27FC236}">
                        <a16:creationId xmlns:a16="http://schemas.microsoft.com/office/drawing/2014/main" id="{E0EBA261-0409-41DC-98E2-4BF8173333E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gray">
                  <a:xfrm rot="5400000">
                    <a:off x="6094413" y="-4494211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B119DAC7-36FB-491E-A6EB-B78E57CAECBF}"/>
                  </a:ext>
                </a:extLst>
              </p:cNvPr>
              <p:cNvSpPr txBox="1"/>
              <p:nvPr userDrawn="1"/>
            </p:nvSpPr>
            <p:spPr bwMode="gray">
              <a:xfrm>
                <a:off x="592866" y="5723466"/>
                <a:ext cx="7329077" cy="47413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>
                <a:no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sz="700"/>
                  <a:t>Footnote: Lorem ipsum dolor sit amet, consectetur adipiscing elit. Maecenas dui magna, sagittis at feugiat eget, viverra eu libero. Vestibulum a justo mi. Etiam blandit tempus odio. Fusce orci lectus, tincidunt eget hendrerit quis, blandit non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85211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0B535B2D-9361-4E88-8BBD-C6E1EB066B37}"/>
              </a:ext>
            </a:extLst>
          </p:cNvPr>
          <p:cNvSpPr/>
          <p:nvPr userDrawn="1"/>
        </p:nvSpPr>
        <p:spPr>
          <a:xfrm>
            <a:off x="0" y="0"/>
            <a:ext cx="12188825" cy="6858000"/>
          </a:xfrm>
          <a:prstGeom prst="rect">
            <a:avLst/>
          </a:prstGeom>
          <a:solidFill>
            <a:srgbClr val="F8981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>
              <a:solidFill>
                <a:schemeClr val="accent2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5AED08D-D489-4C23-BFE9-9C4A6A94C4DA}"/>
              </a:ext>
            </a:extLst>
          </p:cNvPr>
          <p:cNvSpPr txBox="1"/>
          <p:nvPr userDrawn="1"/>
        </p:nvSpPr>
        <p:spPr>
          <a:xfrm>
            <a:off x="606392" y="721895"/>
            <a:ext cx="10876547" cy="48800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5400" spc="300">
                <a:solidFill>
                  <a:schemeClr val="bg1"/>
                </a:solidFill>
              </a:rPr>
              <a:t>DO NOT USE </a:t>
            </a:r>
          </a:p>
          <a:p>
            <a:pPr algn="ctr">
              <a:lnSpc>
                <a:spcPct val="90000"/>
              </a:lnSpc>
            </a:pPr>
            <a:endParaRPr lang="en-US" sz="5400" spc="300">
              <a:solidFill>
                <a:schemeClr val="bg1"/>
              </a:solidFill>
            </a:endParaRPr>
          </a:p>
          <a:p>
            <a:pPr algn="ctr">
              <a:lnSpc>
                <a:spcPct val="90000"/>
              </a:lnSpc>
            </a:pPr>
            <a:r>
              <a:rPr lang="en-US" sz="5400" spc="300">
                <a:solidFill>
                  <a:schemeClr val="bg1"/>
                </a:solidFill>
              </a:rPr>
              <a:t>ALL LAYOUTS PAST THIS ARE NOT PART OF THIS TEMPLATE</a:t>
            </a:r>
          </a:p>
        </p:txBody>
      </p:sp>
    </p:spTree>
    <p:extLst>
      <p:ext uri="{BB962C8B-B14F-4D97-AF65-F5344CB8AC3E}">
        <p14:creationId xmlns:p14="http://schemas.microsoft.com/office/powerpoint/2010/main" val="1074991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B7217DE-1965-47B9-B9BF-BF37EF137B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B7217DE-1965-47B9-B9BF-BF37EF137B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8950B906-C5A3-4658-B24C-B2B533310D26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latin typeface="+mj-lt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E333358-58C9-4949-98D5-BC5D4A3168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none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35349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– Plu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89834265-B4D7-4504-9C1C-C962DD96E4D9}"/>
              </a:ext>
            </a:extLst>
          </p:cNvPr>
          <p:cNvSpPr/>
          <p:nvPr userDrawn="1"/>
        </p:nvSpPr>
        <p:spPr>
          <a:xfrm rot="2700000">
            <a:off x="1156507" y="-4493128"/>
            <a:ext cx="7499811" cy="13467847"/>
          </a:xfrm>
          <a:custGeom>
            <a:avLst/>
            <a:gdLst>
              <a:gd name="connsiteX0" fmla="*/ 0 w 7499811"/>
              <a:gd name="connsiteY0" fmla="*/ 7314868 h 13467847"/>
              <a:gd name="connsiteX1" fmla="*/ 7314868 w 7499811"/>
              <a:gd name="connsiteY1" fmla="*/ 0 h 13467847"/>
              <a:gd name="connsiteX2" fmla="*/ 7499811 w 7499811"/>
              <a:gd name="connsiteY2" fmla="*/ 184942 h 13467847"/>
              <a:gd name="connsiteX3" fmla="*/ 7499811 w 7499811"/>
              <a:gd name="connsiteY3" fmla="*/ 9513150 h 13467847"/>
              <a:gd name="connsiteX4" fmla="*/ 3545114 w 7499811"/>
              <a:gd name="connsiteY4" fmla="*/ 13467847 h 13467847"/>
              <a:gd name="connsiteX5" fmla="*/ 0 w 7499811"/>
              <a:gd name="connsiteY5" fmla="*/ 9922733 h 13467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9811" h="13467847">
                <a:moveTo>
                  <a:pt x="0" y="7314868"/>
                </a:moveTo>
                <a:lnTo>
                  <a:pt x="7314868" y="0"/>
                </a:lnTo>
                <a:lnTo>
                  <a:pt x="7499811" y="184942"/>
                </a:lnTo>
                <a:lnTo>
                  <a:pt x="7499811" y="9513150"/>
                </a:lnTo>
                <a:lnTo>
                  <a:pt x="3545114" y="13467847"/>
                </a:lnTo>
                <a:lnTo>
                  <a:pt x="0" y="9922733"/>
                </a:lnTo>
                <a:close/>
              </a:path>
            </a:pathLst>
          </a:custGeom>
          <a:gradFill>
            <a:gsLst>
              <a:gs pos="24000">
                <a:srgbClr val="7F35AB"/>
              </a:gs>
              <a:gs pos="87000">
                <a:srgbClr val="264088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12F29CAF-76E7-4387-BEA8-66F482EB65A2}"/>
              </a:ext>
            </a:extLst>
          </p:cNvPr>
          <p:cNvSpPr/>
          <p:nvPr userDrawn="1"/>
        </p:nvSpPr>
        <p:spPr>
          <a:xfrm rot="2700000">
            <a:off x="7032715" y="-169135"/>
            <a:ext cx="1042026" cy="8663939"/>
          </a:xfrm>
          <a:custGeom>
            <a:avLst/>
            <a:gdLst>
              <a:gd name="connsiteX0" fmla="*/ 0 w 1042026"/>
              <a:gd name="connsiteY0" fmla="*/ 0 h 8663939"/>
              <a:gd name="connsiteX1" fmla="*/ 1042026 w 1042026"/>
              <a:gd name="connsiteY1" fmla="*/ 0 h 8663939"/>
              <a:gd name="connsiteX2" fmla="*/ 1042026 w 1042026"/>
              <a:gd name="connsiteY2" fmla="*/ 7621913 h 8663939"/>
              <a:gd name="connsiteX3" fmla="*/ 0 w 1042026"/>
              <a:gd name="connsiteY3" fmla="*/ 8663939 h 86639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2026" h="8663939">
                <a:moveTo>
                  <a:pt x="0" y="0"/>
                </a:moveTo>
                <a:lnTo>
                  <a:pt x="1042026" y="0"/>
                </a:lnTo>
                <a:lnTo>
                  <a:pt x="1042026" y="7621913"/>
                </a:lnTo>
                <a:lnTo>
                  <a:pt x="0" y="8663939"/>
                </a:lnTo>
                <a:close/>
              </a:path>
            </a:pathLst>
          </a:custGeom>
          <a:gradFill>
            <a:gsLst>
              <a:gs pos="22000">
                <a:srgbClr val="7F35AB">
                  <a:alpha val="94000"/>
                </a:srgbClr>
              </a:gs>
              <a:gs pos="95000">
                <a:schemeClr val="bg1"/>
              </a:gs>
              <a:gs pos="77000">
                <a:schemeClr val="bg1">
                  <a:alpha val="79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48347C3-DAFD-4322-8B75-FAADCB97A100}"/>
              </a:ext>
            </a:extLst>
          </p:cNvPr>
          <p:cNvSpPr txBox="1"/>
          <p:nvPr userDrawn="1"/>
        </p:nvSpPr>
        <p:spPr bwMode="white"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dirty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A840448-0A4C-4F83-A1CE-7B630AF6D91D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33BBD7F2-6BDB-40F5-BE43-2E5C642F40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1898F8B4-B178-4326-B6D0-C409F52A5D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04FAC758-8579-4948-8E17-F881282AF52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9BC37D6E-0610-40BC-A869-ED4C24F40DA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id="{0AD2EDE2-8C04-4779-942A-CD00356199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id="{B9B95322-EB86-42B6-BCDB-3C38F71CED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32" name="Freeform 12">
              <a:extLst>
                <a:ext uri="{FF2B5EF4-FFF2-40B4-BE49-F238E27FC236}">
                  <a16:creationId xmlns:a16="http://schemas.microsoft.com/office/drawing/2014/main" id="{20532F85-7A34-4927-9486-A847F29CF7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10DCB4EB-8A9B-485D-A968-34B397B482C3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fidential   </a:t>
            </a: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©2019 VMware, Inc.</a:t>
            </a:r>
          </a:p>
        </p:txBody>
      </p:sp>
      <p:sp>
        <p:nvSpPr>
          <p:cNvPr id="41" name="Picture Placeholder 184">
            <a:extLst>
              <a:ext uri="{FF2B5EF4-FFF2-40B4-BE49-F238E27FC236}">
                <a16:creationId xmlns:a16="http://schemas.microsoft.com/office/drawing/2014/main" id="{997DC603-F304-4357-BF7F-19215EB70C5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523151" y="4619335"/>
            <a:ext cx="2740025" cy="1371600"/>
          </a:xfrm>
          <a:noFill/>
        </p:spPr>
        <p:txBody>
          <a:bodyPr anchor="ctr"/>
          <a:lstStyle>
            <a:lvl1pPr algn="ctr">
              <a:defRPr sz="2400" b="1">
                <a:solidFill>
                  <a:srgbClr val="F8981D"/>
                </a:solidFill>
              </a:defRPr>
            </a:lvl1pPr>
          </a:lstStyle>
          <a:p>
            <a:r>
              <a:rPr lang="en-US" dirty="0"/>
              <a:t>Click to insert logo or delete box if not needed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6C21BA7-C6D2-446E-8FD2-266107E90C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8912" y="1600200"/>
            <a:ext cx="5413248" cy="3200400"/>
          </a:xfrm>
        </p:spPr>
        <p:txBody>
          <a:bodyPr anchor="b"/>
          <a:lstStyle>
            <a:lvl1pPr marL="169863" indent="-169863">
              <a:buClrTx/>
              <a:buSzPct val="100000"/>
              <a:buFont typeface="Metropolis" panose="00000500000000000000" pitchFamily="2" charset="0"/>
              <a:buChar char="“"/>
              <a:defRPr sz="2800">
                <a:solidFill>
                  <a:schemeClr val="bg1"/>
                </a:solidFill>
              </a:defRPr>
            </a:lvl1pPr>
            <a:lvl2pPr marL="457200" indent="-184150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2pPr>
            <a:lvl3pPr marL="744538" indent="-16986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3pPr>
            <a:lvl4pPr marL="969963" indent="-166688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4pPr>
            <a:lvl5pPr marL="1143000" indent="-13811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762CBDD-60C2-443D-88B5-C596896049D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648" y="5065776"/>
            <a:ext cx="4581144" cy="274320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 Name</a:t>
            </a:r>
          </a:p>
        </p:txBody>
      </p:sp>
    </p:spTree>
    <p:extLst>
      <p:ext uri="{BB962C8B-B14F-4D97-AF65-F5344CB8AC3E}">
        <p14:creationId xmlns:p14="http://schemas.microsoft.com/office/powerpoint/2010/main" val="1294519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pec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55025D71-18A5-4A22-8386-917E1B08C46A}"/>
              </a:ext>
            </a:extLst>
          </p:cNvPr>
          <p:cNvSpPr txBox="1"/>
          <p:nvPr userDrawn="1"/>
        </p:nvSpPr>
        <p:spPr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latin typeface="+mj-lt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C3375BC-9F3D-422F-A254-2BBC51B4F9B1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2867" y="1005841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999">
                <a:solidFill>
                  <a:schemeClr val="accent4"/>
                </a:solidFill>
                <a:latin typeface="+mn-lt"/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0C0A10E-9734-47B7-9583-A8DD5263A2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0874" y="552451"/>
            <a:ext cx="10893762" cy="428625"/>
          </a:xfrm>
        </p:spPr>
        <p:txBody>
          <a:bodyPr/>
          <a:lstStyle>
            <a:lvl1pPr>
              <a:defRPr sz="2799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36530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6782F443-93A0-4919-89E7-37E501919603}"/>
              </a:ext>
            </a:extLst>
          </p:cNvPr>
          <p:cNvSpPr/>
          <p:nvPr userDrawn="1"/>
        </p:nvSpPr>
        <p:spPr>
          <a:xfrm rot="2700000">
            <a:off x="1530976" y="-2580079"/>
            <a:ext cx="3206987" cy="9623529"/>
          </a:xfrm>
          <a:custGeom>
            <a:avLst/>
            <a:gdLst>
              <a:gd name="connsiteX0" fmla="*/ 3621 w 3204432"/>
              <a:gd name="connsiteY0" fmla="*/ 3200811 h 9623529"/>
              <a:gd name="connsiteX1" fmla="*/ 3204432 w 3204432"/>
              <a:gd name="connsiteY1" fmla="*/ 0 h 9623529"/>
              <a:gd name="connsiteX2" fmla="*/ 3204432 w 3204432"/>
              <a:gd name="connsiteY2" fmla="*/ 8389488 h 9623529"/>
              <a:gd name="connsiteX3" fmla="*/ 3197162 w 3204432"/>
              <a:gd name="connsiteY3" fmla="*/ 8389488 h 9623529"/>
              <a:gd name="connsiteX4" fmla="*/ 3201565 w 3204432"/>
              <a:gd name="connsiteY4" fmla="*/ 8393890 h 9623529"/>
              <a:gd name="connsiteX5" fmla="*/ 1971926 w 3204432"/>
              <a:gd name="connsiteY5" fmla="*/ 9623529 h 9623529"/>
              <a:gd name="connsiteX6" fmla="*/ 0 w 3204432"/>
              <a:gd name="connsiteY6" fmla="*/ 7651603 h 9623529"/>
              <a:gd name="connsiteX7" fmla="*/ 3621 w 3204432"/>
              <a:gd name="connsiteY7" fmla="*/ 7647982 h 9623529"/>
              <a:gd name="connsiteX8" fmla="*/ 3621 w 3204432"/>
              <a:gd name="connsiteY8" fmla="*/ 3200811 h 9623529"/>
              <a:gd name="connsiteX0" fmla="*/ 3621 w 3206055"/>
              <a:gd name="connsiteY0" fmla="*/ 3200811 h 9623529"/>
              <a:gd name="connsiteX1" fmla="*/ 3204432 w 3206055"/>
              <a:gd name="connsiteY1" fmla="*/ 0 h 9623529"/>
              <a:gd name="connsiteX2" fmla="*/ 3204432 w 3206055"/>
              <a:gd name="connsiteY2" fmla="*/ 8389488 h 9623529"/>
              <a:gd name="connsiteX3" fmla="*/ 3197162 w 3206055"/>
              <a:gd name="connsiteY3" fmla="*/ 8389488 h 9623529"/>
              <a:gd name="connsiteX4" fmla="*/ 3206055 w 3206055"/>
              <a:gd name="connsiteY4" fmla="*/ 9386208 h 9623529"/>
              <a:gd name="connsiteX5" fmla="*/ 1971926 w 3206055"/>
              <a:gd name="connsiteY5" fmla="*/ 9623529 h 9623529"/>
              <a:gd name="connsiteX6" fmla="*/ 0 w 3206055"/>
              <a:gd name="connsiteY6" fmla="*/ 7651603 h 9623529"/>
              <a:gd name="connsiteX7" fmla="*/ 3621 w 3206055"/>
              <a:gd name="connsiteY7" fmla="*/ 7647982 h 9623529"/>
              <a:gd name="connsiteX8" fmla="*/ 3621 w 3206055"/>
              <a:gd name="connsiteY8" fmla="*/ 3200811 h 9623529"/>
              <a:gd name="connsiteX0" fmla="*/ 3621 w 3206987"/>
              <a:gd name="connsiteY0" fmla="*/ 3200811 h 9623529"/>
              <a:gd name="connsiteX1" fmla="*/ 3204432 w 3206987"/>
              <a:gd name="connsiteY1" fmla="*/ 0 h 9623529"/>
              <a:gd name="connsiteX2" fmla="*/ 3204432 w 3206987"/>
              <a:gd name="connsiteY2" fmla="*/ 8389488 h 9623529"/>
              <a:gd name="connsiteX3" fmla="*/ 3206142 w 3206987"/>
              <a:gd name="connsiteY3" fmla="*/ 8407448 h 9623529"/>
              <a:gd name="connsiteX4" fmla="*/ 3206055 w 3206987"/>
              <a:gd name="connsiteY4" fmla="*/ 9386208 h 9623529"/>
              <a:gd name="connsiteX5" fmla="*/ 1971926 w 3206987"/>
              <a:gd name="connsiteY5" fmla="*/ 9623529 h 9623529"/>
              <a:gd name="connsiteX6" fmla="*/ 0 w 3206987"/>
              <a:gd name="connsiteY6" fmla="*/ 7651603 h 9623529"/>
              <a:gd name="connsiteX7" fmla="*/ 3621 w 3206987"/>
              <a:gd name="connsiteY7" fmla="*/ 7647982 h 9623529"/>
              <a:gd name="connsiteX8" fmla="*/ 3621 w 3206987"/>
              <a:gd name="connsiteY8" fmla="*/ 3200811 h 96235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206987" h="9623529">
                <a:moveTo>
                  <a:pt x="3621" y="3200811"/>
                </a:moveTo>
                <a:lnTo>
                  <a:pt x="3204432" y="0"/>
                </a:lnTo>
                <a:lnTo>
                  <a:pt x="3204432" y="8389488"/>
                </a:lnTo>
                <a:lnTo>
                  <a:pt x="3206142" y="8407448"/>
                </a:lnTo>
                <a:cubicBezTo>
                  <a:pt x="3209106" y="8739688"/>
                  <a:pt x="3203091" y="9053968"/>
                  <a:pt x="3206055" y="9386208"/>
                </a:cubicBezTo>
                <a:lnTo>
                  <a:pt x="1971926" y="9623529"/>
                </a:lnTo>
                <a:lnTo>
                  <a:pt x="0" y="7651603"/>
                </a:lnTo>
                <a:lnTo>
                  <a:pt x="3621" y="7647982"/>
                </a:lnTo>
                <a:lnTo>
                  <a:pt x="3621" y="3200811"/>
                </a:lnTo>
                <a:close/>
              </a:path>
            </a:pathLst>
          </a:custGeom>
          <a:gradFill>
            <a:gsLst>
              <a:gs pos="24000">
                <a:schemeClr val="accent4"/>
              </a:gs>
              <a:gs pos="87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72DCDC53-603A-40A5-A8CC-0073D40D11EF}"/>
              </a:ext>
            </a:extLst>
          </p:cNvPr>
          <p:cNvSpPr/>
          <p:nvPr userDrawn="1"/>
        </p:nvSpPr>
        <p:spPr>
          <a:xfrm rot="2700000">
            <a:off x="1632126" y="1230940"/>
            <a:ext cx="3535790" cy="7514148"/>
          </a:xfrm>
          <a:custGeom>
            <a:avLst/>
            <a:gdLst>
              <a:gd name="connsiteX0" fmla="*/ 0 w 3535790"/>
              <a:gd name="connsiteY0" fmla="*/ 0 h 7514148"/>
              <a:gd name="connsiteX1" fmla="*/ 3535790 w 3535790"/>
              <a:gd name="connsiteY1" fmla="*/ 0 h 7514148"/>
              <a:gd name="connsiteX2" fmla="*/ 3535790 w 3535790"/>
              <a:gd name="connsiteY2" fmla="*/ 4642648 h 7514148"/>
              <a:gd name="connsiteX3" fmla="*/ 706090 w 3535790"/>
              <a:gd name="connsiteY3" fmla="*/ 7514148 h 7514148"/>
              <a:gd name="connsiteX4" fmla="*/ 0 w 3535790"/>
              <a:gd name="connsiteY4" fmla="*/ 6808058 h 7514148"/>
              <a:gd name="connsiteX5" fmla="*/ 0 w 3535790"/>
              <a:gd name="connsiteY5" fmla="*/ 0 h 75141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35790" h="7514148">
                <a:moveTo>
                  <a:pt x="0" y="0"/>
                </a:moveTo>
                <a:lnTo>
                  <a:pt x="3535790" y="0"/>
                </a:lnTo>
                <a:lnTo>
                  <a:pt x="3535790" y="4642648"/>
                </a:lnTo>
                <a:lnTo>
                  <a:pt x="706090" y="7514148"/>
                </a:lnTo>
                <a:lnTo>
                  <a:pt x="0" y="680805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143">
                <a:schemeClr val="bg1">
                  <a:alpha val="0"/>
                </a:schemeClr>
              </a:gs>
              <a:gs pos="14000">
                <a:schemeClr val="bg1">
                  <a:alpha val="0"/>
                </a:schemeClr>
              </a:gs>
              <a:gs pos="72000">
                <a:schemeClr val="accent1"/>
              </a:gs>
            </a:gsLst>
            <a:lin ang="4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92948" y="1582578"/>
            <a:ext cx="4996403" cy="1234440"/>
          </a:xfrm>
        </p:spPr>
        <p:txBody>
          <a:bodyPr wrap="square" anchor="b"/>
          <a:lstStyle>
            <a:lvl1pPr algn="l">
              <a:defRPr sz="3999" b="0" cap="none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8" name="Subtitle 2">
            <a:extLst>
              <a:ext uri="{FF2B5EF4-FFF2-40B4-BE49-F238E27FC236}">
                <a16:creationId xmlns:a16="http://schemas.microsoft.com/office/drawing/2014/main" id="{6EBAFA4D-7B92-4E38-8320-94F3BCA2E41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592948" y="2867281"/>
            <a:ext cx="5116452" cy="416403"/>
          </a:xfrm>
        </p:spPr>
        <p:txBody>
          <a:bodyPr/>
          <a:lstStyle>
            <a:lvl1pPr marL="0" indent="0" algn="l">
              <a:buNone/>
              <a:defRPr sz="2399">
                <a:solidFill>
                  <a:schemeClr val="accent4"/>
                </a:solidFill>
                <a:latin typeface="+mj-lt"/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EA43E1E-B208-4DC4-9D6A-01669D00DA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92948" y="4737427"/>
            <a:ext cx="3657600" cy="355601"/>
          </a:xfrm>
        </p:spPr>
        <p:txBody>
          <a:bodyPr anchor="b"/>
          <a:lstStyle>
            <a:lvl1pPr algn="l"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129" name="Text Placeholder 6">
            <a:extLst>
              <a:ext uri="{FF2B5EF4-FFF2-40B4-BE49-F238E27FC236}">
                <a16:creationId xmlns:a16="http://schemas.microsoft.com/office/drawing/2014/main" id="{2111BB8B-7B37-4FB4-B2CD-984FE1C6C5E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92948" y="5138747"/>
            <a:ext cx="3657600" cy="355601"/>
          </a:xfrm>
        </p:spPr>
        <p:txBody>
          <a:bodyPr/>
          <a:lstStyle>
            <a:lvl1pPr algn="l"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Role / Division at VMwa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68E7D54E-C753-48F7-AB43-C7A586277F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92948" y="5494348"/>
            <a:ext cx="3657600" cy="267221"/>
          </a:xfrm>
        </p:spPr>
        <p:txBody>
          <a:bodyPr/>
          <a:lstStyle>
            <a:lvl1pPr algn="l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71B1726-E7C5-4C32-A22F-BB8C0CA833E9}"/>
              </a:ext>
            </a:extLst>
          </p:cNvPr>
          <p:cNvGrpSpPr/>
          <p:nvPr userDrawn="1"/>
        </p:nvGrpSpPr>
        <p:grpSpPr>
          <a:xfrm>
            <a:off x="608013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0AEE4566-BDD0-43EB-8593-753B4AFC53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CDDDBBBD-2B47-4F32-9507-B47217AD31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9A63A2EB-B414-427C-8975-27B69B276D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4AFD0B14-399F-447F-BBDD-FF049C867FA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0778A2AC-9D1D-4FDB-973A-47DEA98860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52873CFF-17A0-467C-B061-5E3FD5E92C7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C351EEF9-CE8C-4948-8867-FDC697419B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576FCBCF-AFA0-4D2E-AF64-919BFE9B44B8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fidential   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©2019 VMware, Inc.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3" name="Ink 2">
                <a:extLst>
                  <a:ext uri="{FF2B5EF4-FFF2-40B4-BE49-F238E27FC236}">
                    <a16:creationId xmlns:a16="http://schemas.microsoft.com/office/drawing/2014/main" id="{229416F8-1B20-4892-97FA-108F191A5885}"/>
                  </a:ext>
                </a:extLst>
              </p14:cNvPr>
              <p14:cNvContentPartPr/>
              <p14:nvPr userDrawn="1"/>
            </p14:nvContentPartPr>
            <p14:xfrm>
              <a:off x="9859593" y="4881179"/>
              <a:ext cx="240" cy="240"/>
            </p14:xfrm>
          </p:contentPart>
        </mc:Choice>
        <mc:Fallback xmlns="">
          <p:pic>
            <p:nvPicPr>
              <p:cNvPr id="3" name="Ink 2">
                <a:extLst>
                  <a:ext uri="{FF2B5EF4-FFF2-40B4-BE49-F238E27FC236}">
                    <a16:creationId xmlns:a16="http://schemas.microsoft.com/office/drawing/2014/main" id="{229416F8-1B20-4892-97FA-108F191A5885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9855513" y="4877099"/>
                <a:ext cx="7920" cy="79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349907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– Plu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1F68A354-4C62-4F2A-9CB5-8CD9B953F237}"/>
              </a:ext>
            </a:extLst>
          </p:cNvPr>
          <p:cNvSpPr/>
          <p:nvPr userDrawn="1"/>
        </p:nvSpPr>
        <p:spPr>
          <a:xfrm rot="2700000">
            <a:off x="1530976" y="-2580079"/>
            <a:ext cx="3206987" cy="9623529"/>
          </a:xfrm>
          <a:custGeom>
            <a:avLst/>
            <a:gdLst>
              <a:gd name="connsiteX0" fmla="*/ 3621 w 3204432"/>
              <a:gd name="connsiteY0" fmla="*/ 3200811 h 9623529"/>
              <a:gd name="connsiteX1" fmla="*/ 3204432 w 3204432"/>
              <a:gd name="connsiteY1" fmla="*/ 0 h 9623529"/>
              <a:gd name="connsiteX2" fmla="*/ 3204432 w 3204432"/>
              <a:gd name="connsiteY2" fmla="*/ 8389488 h 9623529"/>
              <a:gd name="connsiteX3" fmla="*/ 3197162 w 3204432"/>
              <a:gd name="connsiteY3" fmla="*/ 8389488 h 9623529"/>
              <a:gd name="connsiteX4" fmla="*/ 3201565 w 3204432"/>
              <a:gd name="connsiteY4" fmla="*/ 8393890 h 9623529"/>
              <a:gd name="connsiteX5" fmla="*/ 1971926 w 3204432"/>
              <a:gd name="connsiteY5" fmla="*/ 9623529 h 9623529"/>
              <a:gd name="connsiteX6" fmla="*/ 0 w 3204432"/>
              <a:gd name="connsiteY6" fmla="*/ 7651603 h 9623529"/>
              <a:gd name="connsiteX7" fmla="*/ 3621 w 3204432"/>
              <a:gd name="connsiteY7" fmla="*/ 7647982 h 9623529"/>
              <a:gd name="connsiteX8" fmla="*/ 3621 w 3204432"/>
              <a:gd name="connsiteY8" fmla="*/ 3200811 h 9623529"/>
              <a:gd name="connsiteX0" fmla="*/ 3621 w 3206055"/>
              <a:gd name="connsiteY0" fmla="*/ 3200811 h 9623529"/>
              <a:gd name="connsiteX1" fmla="*/ 3204432 w 3206055"/>
              <a:gd name="connsiteY1" fmla="*/ 0 h 9623529"/>
              <a:gd name="connsiteX2" fmla="*/ 3204432 w 3206055"/>
              <a:gd name="connsiteY2" fmla="*/ 8389488 h 9623529"/>
              <a:gd name="connsiteX3" fmla="*/ 3197162 w 3206055"/>
              <a:gd name="connsiteY3" fmla="*/ 8389488 h 9623529"/>
              <a:gd name="connsiteX4" fmla="*/ 3206055 w 3206055"/>
              <a:gd name="connsiteY4" fmla="*/ 9386208 h 9623529"/>
              <a:gd name="connsiteX5" fmla="*/ 1971926 w 3206055"/>
              <a:gd name="connsiteY5" fmla="*/ 9623529 h 9623529"/>
              <a:gd name="connsiteX6" fmla="*/ 0 w 3206055"/>
              <a:gd name="connsiteY6" fmla="*/ 7651603 h 9623529"/>
              <a:gd name="connsiteX7" fmla="*/ 3621 w 3206055"/>
              <a:gd name="connsiteY7" fmla="*/ 7647982 h 9623529"/>
              <a:gd name="connsiteX8" fmla="*/ 3621 w 3206055"/>
              <a:gd name="connsiteY8" fmla="*/ 3200811 h 9623529"/>
              <a:gd name="connsiteX0" fmla="*/ 3621 w 3206987"/>
              <a:gd name="connsiteY0" fmla="*/ 3200811 h 9623529"/>
              <a:gd name="connsiteX1" fmla="*/ 3204432 w 3206987"/>
              <a:gd name="connsiteY1" fmla="*/ 0 h 9623529"/>
              <a:gd name="connsiteX2" fmla="*/ 3204432 w 3206987"/>
              <a:gd name="connsiteY2" fmla="*/ 8389488 h 9623529"/>
              <a:gd name="connsiteX3" fmla="*/ 3206142 w 3206987"/>
              <a:gd name="connsiteY3" fmla="*/ 8407448 h 9623529"/>
              <a:gd name="connsiteX4" fmla="*/ 3206055 w 3206987"/>
              <a:gd name="connsiteY4" fmla="*/ 9386208 h 9623529"/>
              <a:gd name="connsiteX5" fmla="*/ 1971926 w 3206987"/>
              <a:gd name="connsiteY5" fmla="*/ 9623529 h 9623529"/>
              <a:gd name="connsiteX6" fmla="*/ 0 w 3206987"/>
              <a:gd name="connsiteY6" fmla="*/ 7651603 h 9623529"/>
              <a:gd name="connsiteX7" fmla="*/ 3621 w 3206987"/>
              <a:gd name="connsiteY7" fmla="*/ 7647982 h 9623529"/>
              <a:gd name="connsiteX8" fmla="*/ 3621 w 3206987"/>
              <a:gd name="connsiteY8" fmla="*/ 3200811 h 96235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206987" h="9623529">
                <a:moveTo>
                  <a:pt x="3621" y="3200811"/>
                </a:moveTo>
                <a:lnTo>
                  <a:pt x="3204432" y="0"/>
                </a:lnTo>
                <a:lnTo>
                  <a:pt x="3204432" y="8389488"/>
                </a:lnTo>
                <a:lnTo>
                  <a:pt x="3206142" y="8407448"/>
                </a:lnTo>
                <a:cubicBezTo>
                  <a:pt x="3209106" y="8739688"/>
                  <a:pt x="3203091" y="9053968"/>
                  <a:pt x="3206055" y="9386208"/>
                </a:cubicBezTo>
                <a:lnTo>
                  <a:pt x="1971926" y="9623529"/>
                </a:lnTo>
                <a:lnTo>
                  <a:pt x="0" y="7651603"/>
                </a:lnTo>
                <a:lnTo>
                  <a:pt x="3621" y="7647982"/>
                </a:lnTo>
                <a:lnTo>
                  <a:pt x="3621" y="3200811"/>
                </a:lnTo>
                <a:close/>
              </a:path>
            </a:pathLst>
          </a:custGeom>
          <a:gradFill>
            <a:gsLst>
              <a:gs pos="24000">
                <a:srgbClr val="7F35AB"/>
              </a:gs>
              <a:gs pos="87000">
                <a:srgbClr val="264088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C835AD62-92DE-42CB-A787-503E2A1C1C7A}"/>
              </a:ext>
            </a:extLst>
          </p:cNvPr>
          <p:cNvSpPr/>
          <p:nvPr userDrawn="1"/>
        </p:nvSpPr>
        <p:spPr>
          <a:xfrm rot="2700000">
            <a:off x="1632126" y="1230940"/>
            <a:ext cx="3535790" cy="7514148"/>
          </a:xfrm>
          <a:custGeom>
            <a:avLst/>
            <a:gdLst>
              <a:gd name="connsiteX0" fmla="*/ 0 w 3535790"/>
              <a:gd name="connsiteY0" fmla="*/ 0 h 7514148"/>
              <a:gd name="connsiteX1" fmla="*/ 3535790 w 3535790"/>
              <a:gd name="connsiteY1" fmla="*/ 0 h 7514148"/>
              <a:gd name="connsiteX2" fmla="*/ 3535790 w 3535790"/>
              <a:gd name="connsiteY2" fmla="*/ 4642648 h 7514148"/>
              <a:gd name="connsiteX3" fmla="*/ 706090 w 3535790"/>
              <a:gd name="connsiteY3" fmla="*/ 7514148 h 7514148"/>
              <a:gd name="connsiteX4" fmla="*/ 0 w 3535790"/>
              <a:gd name="connsiteY4" fmla="*/ 6808058 h 7514148"/>
              <a:gd name="connsiteX5" fmla="*/ 0 w 3535790"/>
              <a:gd name="connsiteY5" fmla="*/ 0 h 75141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35790" h="7514148">
                <a:moveTo>
                  <a:pt x="0" y="0"/>
                </a:moveTo>
                <a:lnTo>
                  <a:pt x="3535790" y="0"/>
                </a:lnTo>
                <a:lnTo>
                  <a:pt x="3535790" y="4642648"/>
                </a:lnTo>
                <a:lnTo>
                  <a:pt x="706090" y="7514148"/>
                </a:lnTo>
                <a:lnTo>
                  <a:pt x="0" y="680805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8580">
                <a:srgbClr val="0286CD">
                  <a:alpha val="0"/>
                </a:srgbClr>
              </a:gs>
              <a:gs pos="0">
                <a:schemeClr val="accent1">
                  <a:alpha val="0"/>
                </a:schemeClr>
              </a:gs>
              <a:gs pos="78000">
                <a:schemeClr val="accent2">
                  <a:lumMod val="75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92948" y="1582578"/>
            <a:ext cx="4996403" cy="1234440"/>
          </a:xfrm>
        </p:spPr>
        <p:txBody>
          <a:bodyPr wrap="square" anchor="b"/>
          <a:lstStyle>
            <a:lvl1pPr algn="l">
              <a:defRPr sz="3999" b="0" cap="none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8" name="Subtitle 2">
            <a:extLst>
              <a:ext uri="{FF2B5EF4-FFF2-40B4-BE49-F238E27FC236}">
                <a16:creationId xmlns:a16="http://schemas.microsoft.com/office/drawing/2014/main" id="{6EBAFA4D-7B92-4E38-8320-94F3BCA2E41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592948" y="2871218"/>
            <a:ext cx="5116452" cy="416403"/>
          </a:xfrm>
        </p:spPr>
        <p:txBody>
          <a:bodyPr/>
          <a:lstStyle>
            <a:lvl1pPr marL="0" indent="0" algn="l">
              <a:buNone/>
              <a:defRPr sz="2399">
                <a:solidFill>
                  <a:schemeClr val="tx2"/>
                </a:solidFill>
                <a:latin typeface="+mj-lt"/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EA43E1E-B208-4DC4-9D6A-01669D00DA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92948" y="4737427"/>
            <a:ext cx="3657600" cy="355601"/>
          </a:xfrm>
        </p:spPr>
        <p:txBody>
          <a:bodyPr anchor="b"/>
          <a:lstStyle>
            <a:lvl1pPr algn="l"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129" name="Text Placeholder 6">
            <a:extLst>
              <a:ext uri="{FF2B5EF4-FFF2-40B4-BE49-F238E27FC236}">
                <a16:creationId xmlns:a16="http://schemas.microsoft.com/office/drawing/2014/main" id="{2111BB8B-7B37-4FB4-B2CD-984FE1C6C5E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92948" y="5138747"/>
            <a:ext cx="3657600" cy="355601"/>
          </a:xfrm>
        </p:spPr>
        <p:txBody>
          <a:bodyPr/>
          <a:lstStyle>
            <a:lvl1pPr algn="l"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Role / Division at VMwa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68E7D54E-C753-48F7-AB43-C7A586277F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92948" y="5494345"/>
            <a:ext cx="3657600" cy="265176"/>
          </a:xfrm>
        </p:spPr>
        <p:txBody>
          <a:bodyPr/>
          <a:lstStyle>
            <a:lvl1pPr algn="l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71B1726-E7C5-4C32-A22F-BB8C0CA833E9}"/>
              </a:ext>
            </a:extLst>
          </p:cNvPr>
          <p:cNvGrpSpPr/>
          <p:nvPr userDrawn="1"/>
        </p:nvGrpSpPr>
        <p:grpSpPr>
          <a:xfrm>
            <a:off x="608013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0AEE4566-BDD0-43EB-8593-753B4AFC53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CDDDBBBD-2B47-4F32-9507-B47217AD31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9A63A2EB-B414-427C-8975-27B69B276D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4AFD0B14-399F-447F-BBDD-FF049C867FA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0778A2AC-9D1D-4FDB-973A-47DEA98860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52873CFF-17A0-467C-B061-5E3FD5E92C7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C351EEF9-CE8C-4948-8867-FDC697419B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576FCBCF-AFA0-4D2E-AF64-919BFE9B44B8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fidential   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©2019 VMware, Inc.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3" name="Ink 2">
                <a:extLst>
                  <a:ext uri="{FF2B5EF4-FFF2-40B4-BE49-F238E27FC236}">
                    <a16:creationId xmlns:a16="http://schemas.microsoft.com/office/drawing/2014/main" id="{229416F8-1B20-4892-97FA-108F191A5885}"/>
                  </a:ext>
                </a:extLst>
              </p14:cNvPr>
              <p14:cNvContentPartPr/>
              <p14:nvPr userDrawn="1"/>
            </p14:nvContentPartPr>
            <p14:xfrm>
              <a:off x="9859593" y="4881179"/>
              <a:ext cx="240" cy="240"/>
            </p14:xfrm>
          </p:contentPart>
        </mc:Choice>
        <mc:Fallback xmlns="">
          <p:pic>
            <p:nvPicPr>
              <p:cNvPr id="3" name="Ink 2">
                <a:extLst>
                  <a:ext uri="{FF2B5EF4-FFF2-40B4-BE49-F238E27FC236}">
                    <a16:creationId xmlns:a16="http://schemas.microsoft.com/office/drawing/2014/main" id="{229416F8-1B20-4892-97FA-108F191A5885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9855513" y="4877099"/>
                <a:ext cx="7920" cy="79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446021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–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BCB68143-A247-4F5B-9173-3D82D6706BFE}"/>
              </a:ext>
            </a:extLst>
          </p:cNvPr>
          <p:cNvSpPr/>
          <p:nvPr userDrawn="1"/>
        </p:nvSpPr>
        <p:spPr>
          <a:xfrm rot="2700000">
            <a:off x="1530976" y="-2580079"/>
            <a:ext cx="3206987" cy="9623529"/>
          </a:xfrm>
          <a:custGeom>
            <a:avLst/>
            <a:gdLst>
              <a:gd name="connsiteX0" fmla="*/ 3621 w 3204432"/>
              <a:gd name="connsiteY0" fmla="*/ 3200811 h 9623529"/>
              <a:gd name="connsiteX1" fmla="*/ 3204432 w 3204432"/>
              <a:gd name="connsiteY1" fmla="*/ 0 h 9623529"/>
              <a:gd name="connsiteX2" fmla="*/ 3204432 w 3204432"/>
              <a:gd name="connsiteY2" fmla="*/ 8389488 h 9623529"/>
              <a:gd name="connsiteX3" fmla="*/ 3197162 w 3204432"/>
              <a:gd name="connsiteY3" fmla="*/ 8389488 h 9623529"/>
              <a:gd name="connsiteX4" fmla="*/ 3201565 w 3204432"/>
              <a:gd name="connsiteY4" fmla="*/ 8393890 h 9623529"/>
              <a:gd name="connsiteX5" fmla="*/ 1971926 w 3204432"/>
              <a:gd name="connsiteY5" fmla="*/ 9623529 h 9623529"/>
              <a:gd name="connsiteX6" fmla="*/ 0 w 3204432"/>
              <a:gd name="connsiteY6" fmla="*/ 7651603 h 9623529"/>
              <a:gd name="connsiteX7" fmla="*/ 3621 w 3204432"/>
              <a:gd name="connsiteY7" fmla="*/ 7647982 h 9623529"/>
              <a:gd name="connsiteX8" fmla="*/ 3621 w 3204432"/>
              <a:gd name="connsiteY8" fmla="*/ 3200811 h 9623529"/>
              <a:gd name="connsiteX0" fmla="*/ 3621 w 3206055"/>
              <a:gd name="connsiteY0" fmla="*/ 3200811 h 9623529"/>
              <a:gd name="connsiteX1" fmla="*/ 3204432 w 3206055"/>
              <a:gd name="connsiteY1" fmla="*/ 0 h 9623529"/>
              <a:gd name="connsiteX2" fmla="*/ 3204432 w 3206055"/>
              <a:gd name="connsiteY2" fmla="*/ 8389488 h 9623529"/>
              <a:gd name="connsiteX3" fmla="*/ 3197162 w 3206055"/>
              <a:gd name="connsiteY3" fmla="*/ 8389488 h 9623529"/>
              <a:gd name="connsiteX4" fmla="*/ 3206055 w 3206055"/>
              <a:gd name="connsiteY4" fmla="*/ 9386208 h 9623529"/>
              <a:gd name="connsiteX5" fmla="*/ 1971926 w 3206055"/>
              <a:gd name="connsiteY5" fmla="*/ 9623529 h 9623529"/>
              <a:gd name="connsiteX6" fmla="*/ 0 w 3206055"/>
              <a:gd name="connsiteY6" fmla="*/ 7651603 h 9623529"/>
              <a:gd name="connsiteX7" fmla="*/ 3621 w 3206055"/>
              <a:gd name="connsiteY7" fmla="*/ 7647982 h 9623529"/>
              <a:gd name="connsiteX8" fmla="*/ 3621 w 3206055"/>
              <a:gd name="connsiteY8" fmla="*/ 3200811 h 9623529"/>
              <a:gd name="connsiteX0" fmla="*/ 3621 w 3206987"/>
              <a:gd name="connsiteY0" fmla="*/ 3200811 h 9623529"/>
              <a:gd name="connsiteX1" fmla="*/ 3204432 w 3206987"/>
              <a:gd name="connsiteY1" fmla="*/ 0 h 9623529"/>
              <a:gd name="connsiteX2" fmla="*/ 3204432 w 3206987"/>
              <a:gd name="connsiteY2" fmla="*/ 8389488 h 9623529"/>
              <a:gd name="connsiteX3" fmla="*/ 3206142 w 3206987"/>
              <a:gd name="connsiteY3" fmla="*/ 8407448 h 9623529"/>
              <a:gd name="connsiteX4" fmla="*/ 3206055 w 3206987"/>
              <a:gd name="connsiteY4" fmla="*/ 9386208 h 9623529"/>
              <a:gd name="connsiteX5" fmla="*/ 1971926 w 3206987"/>
              <a:gd name="connsiteY5" fmla="*/ 9623529 h 9623529"/>
              <a:gd name="connsiteX6" fmla="*/ 0 w 3206987"/>
              <a:gd name="connsiteY6" fmla="*/ 7651603 h 9623529"/>
              <a:gd name="connsiteX7" fmla="*/ 3621 w 3206987"/>
              <a:gd name="connsiteY7" fmla="*/ 7647982 h 9623529"/>
              <a:gd name="connsiteX8" fmla="*/ 3621 w 3206987"/>
              <a:gd name="connsiteY8" fmla="*/ 3200811 h 96235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206987" h="9623529">
                <a:moveTo>
                  <a:pt x="3621" y="3200811"/>
                </a:moveTo>
                <a:lnTo>
                  <a:pt x="3204432" y="0"/>
                </a:lnTo>
                <a:lnTo>
                  <a:pt x="3204432" y="8389488"/>
                </a:lnTo>
                <a:lnTo>
                  <a:pt x="3206142" y="8407448"/>
                </a:lnTo>
                <a:cubicBezTo>
                  <a:pt x="3209106" y="8739688"/>
                  <a:pt x="3203091" y="9053968"/>
                  <a:pt x="3206055" y="9386208"/>
                </a:cubicBezTo>
                <a:lnTo>
                  <a:pt x="1971926" y="9623529"/>
                </a:lnTo>
                <a:lnTo>
                  <a:pt x="0" y="7651603"/>
                </a:lnTo>
                <a:lnTo>
                  <a:pt x="3621" y="7647982"/>
                </a:lnTo>
                <a:lnTo>
                  <a:pt x="3621" y="3200811"/>
                </a:lnTo>
                <a:close/>
              </a:path>
            </a:pathLst>
          </a:custGeom>
          <a:gradFill>
            <a:gsLst>
              <a:gs pos="24000">
                <a:schemeClr val="accent3"/>
              </a:gs>
              <a:gs pos="87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865D9BB8-44B7-4046-A859-7B01AD84E349}"/>
              </a:ext>
            </a:extLst>
          </p:cNvPr>
          <p:cNvSpPr/>
          <p:nvPr userDrawn="1"/>
        </p:nvSpPr>
        <p:spPr>
          <a:xfrm rot="2700000">
            <a:off x="1632126" y="1230940"/>
            <a:ext cx="3535790" cy="7514148"/>
          </a:xfrm>
          <a:custGeom>
            <a:avLst/>
            <a:gdLst>
              <a:gd name="connsiteX0" fmla="*/ 0 w 3535790"/>
              <a:gd name="connsiteY0" fmla="*/ 0 h 7514148"/>
              <a:gd name="connsiteX1" fmla="*/ 3535790 w 3535790"/>
              <a:gd name="connsiteY1" fmla="*/ 0 h 7514148"/>
              <a:gd name="connsiteX2" fmla="*/ 3535790 w 3535790"/>
              <a:gd name="connsiteY2" fmla="*/ 4642648 h 7514148"/>
              <a:gd name="connsiteX3" fmla="*/ 706090 w 3535790"/>
              <a:gd name="connsiteY3" fmla="*/ 7514148 h 7514148"/>
              <a:gd name="connsiteX4" fmla="*/ 0 w 3535790"/>
              <a:gd name="connsiteY4" fmla="*/ 6808058 h 7514148"/>
              <a:gd name="connsiteX5" fmla="*/ 0 w 3535790"/>
              <a:gd name="connsiteY5" fmla="*/ 0 h 75141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35790" h="7514148">
                <a:moveTo>
                  <a:pt x="0" y="0"/>
                </a:moveTo>
                <a:lnTo>
                  <a:pt x="3535790" y="0"/>
                </a:lnTo>
                <a:lnTo>
                  <a:pt x="3535790" y="4642648"/>
                </a:lnTo>
                <a:lnTo>
                  <a:pt x="706090" y="7514148"/>
                </a:lnTo>
                <a:lnTo>
                  <a:pt x="0" y="680805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143">
                <a:schemeClr val="bg1">
                  <a:alpha val="0"/>
                </a:schemeClr>
              </a:gs>
              <a:gs pos="14000">
                <a:schemeClr val="bg1">
                  <a:alpha val="0"/>
                </a:schemeClr>
              </a:gs>
              <a:gs pos="72000">
                <a:schemeClr val="accent1"/>
              </a:gs>
            </a:gsLst>
            <a:lin ang="4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92948" y="1582578"/>
            <a:ext cx="4996403" cy="1234440"/>
          </a:xfrm>
        </p:spPr>
        <p:txBody>
          <a:bodyPr wrap="square" anchor="b"/>
          <a:lstStyle>
            <a:lvl1pPr algn="l">
              <a:defRPr sz="3999" b="0" cap="none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8" name="Subtitle 2">
            <a:extLst>
              <a:ext uri="{FF2B5EF4-FFF2-40B4-BE49-F238E27FC236}">
                <a16:creationId xmlns:a16="http://schemas.microsoft.com/office/drawing/2014/main" id="{6EBAFA4D-7B92-4E38-8320-94F3BCA2E41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592948" y="2871218"/>
            <a:ext cx="5116452" cy="416403"/>
          </a:xfrm>
        </p:spPr>
        <p:txBody>
          <a:bodyPr/>
          <a:lstStyle>
            <a:lvl1pPr marL="0" indent="0" algn="l">
              <a:buNone/>
              <a:defRPr sz="2399">
                <a:solidFill>
                  <a:schemeClr val="tx2"/>
                </a:solidFill>
                <a:latin typeface="+mj-lt"/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EA43E1E-B208-4DC4-9D6A-01669D00DA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92948" y="4737427"/>
            <a:ext cx="3657600" cy="355601"/>
          </a:xfrm>
        </p:spPr>
        <p:txBody>
          <a:bodyPr anchor="b"/>
          <a:lstStyle>
            <a:lvl1pPr algn="l"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129" name="Text Placeholder 6">
            <a:extLst>
              <a:ext uri="{FF2B5EF4-FFF2-40B4-BE49-F238E27FC236}">
                <a16:creationId xmlns:a16="http://schemas.microsoft.com/office/drawing/2014/main" id="{2111BB8B-7B37-4FB4-B2CD-984FE1C6C5E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92948" y="5138747"/>
            <a:ext cx="3657600" cy="355601"/>
          </a:xfrm>
        </p:spPr>
        <p:txBody>
          <a:bodyPr/>
          <a:lstStyle>
            <a:lvl1pPr algn="l"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Role / Division at VMwa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68E7D54E-C753-48F7-AB43-C7A586277F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92948" y="5494345"/>
            <a:ext cx="3657600" cy="265176"/>
          </a:xfrm>
        </p:spPr>
        <p:txBody>
          <a:bodyPr/>
          <a:lstStyle>
            <a:lvl1pPr algn="l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71B1726-E7C5-4C32-A22F-BB8C0CA833E9}"/>
              </a:ext>
            </a:extLst>
          </p:cNvPr>
          <p:cNvGrpSpPr/>
          <p:nvPr userDrawn="1"/>
        </p:nvGrpSpPr>
        <p:grpSpPr>
          <a:xfrm>
            <a:off x="608013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0AEE4566-BDD0-43EB-8593-753B4AFC53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CDDDBBBD-2B47-4F32-9507-B47217AD31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9A63A2EB-B414-427C-8975-27B69B276D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4AFD0B14-399F-447F-BBDD-FF049C867FA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0778A2AC-9D1D-4FDB-973A-47DEA98860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52873CFF-17A0-467C-B061-5E3FD5E92C7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C351EEF9-CE8C-4948-8867-FDC697419B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576FCBCF-AFA0-4D2E-AF64-919BFE9B44B8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fidential   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©2019 VMware, Inc.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3" name="Ink 2">
                <a:extLst>
                  <a:ext uri="{FF2B5EF4-FFF2-40B4-BE49-F238E27FC236}">
                    <a16:creationId xmlns:a16="http://schemas.microsoft.com/office/drawing/2014/main" id="{229416F8-1B20-4892-97FA-108F191A5885}"/>
                  </a:ext>
                </a:extLst>
              </p14:cNvPr>
              <p14:cNvContentPartPr/>
              <p14:nvPr userDrawn="1"/>
            </p14:nvContentPartPr>
            <p14:xfrm>
              <a:off x="9859593" y="4881179"/>
              <a:ext cx="240" cy="240"/>
            </p14:xfrm>
          </p:contentPart>
        </mc:Choice>
        <mc:Fallback xmlns="">
          <p:pic>
            <p:nvPicPr>
              <p:cNvPr id="3" name="Ink 2">
                <a:extLst>
                  <a:ext uri="{FF2B5EF4-FFF2-40B4-BE49-F238E27FC236}">
                    <a16:creationId xmlns:a16="http://schemas.microsoft.com/office/drawing/2014/main" id="{229416F8-1B20-4892-97FA-108F191A5885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9855513" y="4877099"/>
                <a:ext cx="7920" cy="79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4260351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6" name="TextBox 755">
            <a:extLst>
              <a:ext uri="{FF2B5EF4-FFF2-40B4-BE49-F238E27FC236}">
                <a16:creationId xmlns:a16="http://schemas.microsoft.com/office/drawing/2014/main" id="{2387BAEF-04D4-4DE9-B7A0-5B5AD8C8A831}"/>
              </a:ext>
            </a:extLst>
          </p:cNvPr>
          <p:cNvSpPr txBox="1"/>
          <p:nvPr userDrawn="1"/>
        </p:nvSpPr>
        <p:spPr>
          <a:xfrm>
            <a:off x="608013" y="1261596"/>
            <a:ext cx="1933864" cy="53489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3199">
                <a:solidFill>
                  <a:schemeClr val="accent2"/>
                </a:solidFill>
                <a:latin typeface="+mj-lt"/>
              </a:rPr>
              <a:t>Agenda</a:t>
            </a:r>
          </a:p>
        </p:txBody>
      </p:sp>
      <p:sp>
        <p:nvSpPr>
          <p:cNvPr id="730" name="TextBox 729">
            <a:extLst>
              <a:ext uri="{FF2B5EF4-FFF2-40B4-BE49-F238E27FC236}">
                <a16:creationId xmlns:a16="http://schemas.microsoft.com/office/drawing/2014/main" id="{AB8D1A6B-3CE6-468D-804E-6300F8B6DC81}"/>
              </a:ext>
            </a:extLst>
          </p:cNvPr>
          <p:cNvSpPr txBox="1"/>
          <p:nvPr userDrawn="1"/>
        </p:nvSpPr>
        <p:spPr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solidFill>
                <a:schemeClr val="tx1"/>
              </a:solidFill>
              <a:latin typeface="+mj-lt"/>
            </a:endParaRPr>
          </a:p>
        </p:txBody>
      </p:sp>
      <p:sp>
        <p:nvSpPr>
          <p:cNvPr id="16" name="Text Placeholder 757">
            <a:extLst>
              <a:ext uri="{FF2B5EF4-FFF2-40B4-BE49-F238E27FC236}">
                <a16:creationId xmlns:a16="http://schemas.microsoft.com/office/drawing/2014/main" id="{B29EB907-51A5-4D60-B03A-85DECB7627F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94013" y="1359909"/>
            <a:ext cx="7315200" cy="4322783"/>
          </a:xfrm>
        </p:spPr>
        <p:txBody>
          <a:bodyPr anchor="t"/>
          <a:lstStyle>
            <a:lvl1pPr marL="0" indent="0">
              <a:spcBef>
                <a:spcPts val="1799"/>
              </a:spcBef>
              <a:buClr>
                <a:schemeClr val="accent2"/>
              </a:buClr>
              <a:buFont typeface="Open Sans" panose="020B0606030504020204" pitchFamily="34" charset="0"/>
              <a:buChar char="​"/>
              <a:defRPr>
                <a:solidFill>
                  <a:schemeClr val="accent4"/>
                </a:solidFill>
              </a:defRPr>
            </a:lvl1pPr>
            <a:lvl2pPr marL="0" indent="0"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  <a:lvl3pPr marL="342797" indent="0">
              <a:buFont typeface="Open Sans" panose="020B0606030504020204" pitchFamily="34" charset="0"/>
              <a:buNone/>
              <a:defRPr sz="1799"/>
            </a:lvl3pPr>
            <a:lvl4pPr marL="342797" indent="0">
              <a:buFont typeface="Open Sans" panose="020B0606030504020204" pitchFamily="34" charset="0"/>
              <a:buChar char="​"/>
              <a:tabLst/>
              <a:defRPr sz="1799">
                <a:solidFill>
                  <a:schemeClr val="tx2"/>
                </a:solidFill>
              </a:defRPr>
            </a:lvl4pPr>
            <a:lvl5pPr marL="342797" indent="0">
              <a:buFont typeface="Open Sans" panose="020B0606030504020204" pitchFamily="34" charset="0"/>
              <a:buChar char="​"/>
              <a:tabLst/>
              <a:defRPr sz="1799">
                <a:solidFill>
                  <a:schemeClr val="tx2"/>
                </a:solidFill>
              </a:defRPr>
            </a:lvl5pPr>
            <a:lvl6pPr marL="342797" indent="0">
              <a:buFont typeface="Open Sans" panose="020B0606030504020204" pitchFamily="34" charset="0"/>
              <a:buChar char="​"/>
              <a:defRPr sz="1799">
                <a:solidFill>
                  <a:schemeClr val="tx2"/>
                </a:solidFill>
              </a:defRPr>
            </a:lvl6pPr>
            <a:lvl7pPr marL="342797" indent="0">
              <a:buFont typeface="Open Sans" panose="020B0606030504020204" pitchFamily="34" charset="0"/>
              <a:buChar char="​"/>
              <a:defRPr sz="1799">
                <a:solidFill>
                  <a:schemeClr val="tx2"/>
                </a:solidFill>
              </a:defRPr>
            </a:lvl7pPr>
            <a:lvl8pPr marL="342797" indent="0">
              <a:buFont typeface="Open Sans" panose="020B0606030504020204" pitchFamily="34" charset="0"/>
              <a:buChar char="​"/>
              <a:defRPr sz="1799">
                <a:solidFill>
                  <a:schemeClr val="tx2"/>
                </a:solidFill>
              </a:defRPr>
            </a:lvl8pPr>
            <a:lvl9pPr marL="342797" indent="0">
              <a:buFont typeface="Open Sans" panose="020B0606030504020204" pitchFamily="34" charset="0"/>
              <a:buChar char="​"/>
              <a:defRPr sz="1799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21094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9108" y="938794"/>
            <a:ext cx="6427626" cy="1229360"/>
          </a:xfrm>
        </p:spPr>
        <p:txBody>
          <a:bodyPr wrap="square" anchor="b"/>
          <a:lstStyle>
            <a:lvl1pPr algn="l">
              <a:defRPr sz="3599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128" name="Subtitle 2">
            <a:extLst>
              <a:ext uri="{FF2B5EF4-FFF2-40B4-BE49-F238E27FC236}">
                <a16:creationId xmlns:a16="http://schemas.microsoft.com/office/drawing/2014/main" id="{6EBAFA4D-7B92-4E38-8320-94F3BCA2E41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02966" y="2270788"/>
            <a:ext cx="6408402" cy="700882"/>
          </a:xfrm>
        </p:spPr>
        <p:txBody>
          <a:bodyPr/>
          <a:lstStyle>
            <a:lvl1pPr marL="0" indent="0" algn="l">
              <a:buNone/>
              <a:defRPr sz="2399">
                <a:solidFill>
                  <a:schemeClr val="accent4"/>
                </a:solidFill>
                <a:latin typeface="+mj-lt"/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add tex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E46B5F2-170B-43F3-865D-92F5CD3F3546}"/>
              </a:ext>
            </a:extLst>
          </p:cNvPr>
          <p:cNvSpPr txBox="1"/>
          <p:nvPr userDrawn="1"/>
        </p:nvSpPr>
        <p:spPr bwMode="white"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F062DFBC-6461-46E5-9A65-C2BA6B55FAA7}"/>
              </a:ext>
            </a:extLst>
          </p:cNvPr>
          <p:cNvGrpSpPr/>
          <p:nvPr userDrawn="1"/>
        </p:nvGrpSpPr>
        <p:grpSpPr>
          <a:xfrm>
            <a:off x="608013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067657A-03A1-4F4F-AD0D-A5B15521E8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03F0FBFF-D44D-482A-B547-D551EA5D3C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9A9535C7-EA42-4FC0-BF2F-9F86B58ECC7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E775250D-8931-4334-BAE4-BDDB0695417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46FFD602-6135-4BEE-BB2A-C867FBE1FF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14A9D646-E9F0-4A52-BD9E-F04121BF45F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A919FBF8-B563-4387-B270-79EB182CF7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5B407C40-A805-4838-8B00-1B2AAC94FDCD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9428A741-FAD5-4234-862D-6AB7431CF1B6}"/>
              </a:ext>
            </a:extLst>
          </p:cNvPr>
          <p:cNvSpPr/>
          <p:nvPr userDrawn="1"/>
        </p:nvSpPr>
        <p:spPr>
          <a:xfrm rot="2700000">
            <a:off x="7247491" y="-1003602"/>
            <a:ext cx="3505682" cy="10673146"/>
          </a:xfrm>
          <a:custGeom>
            <a:avLst/>
            <a:gdLst>
              <a:gd name="connsiteX0" fmla="*/ 0 w 3505682"/>
              <a:gd name="connsiteY0" fmla="*/ 925479 h 10673146"/>
              <a:gd name="connsiteX1" fmla="*/ 925478 w 3505682"/>
              <a:gd name="connsiteY1" fmla="*/ 0 h 10673146"/>
              <a:gd name="connsiteX2" fmla="*/ 3505682 w 3505682"/>
              <a:gd name="connsiteY2" fmla="*/ 2580205 h 10673146"/>
              <a:gd name="connsiteX3" fmla="*/ 3505682 w 3505682"/>
              <a:gd name="connsiteY3" fmla="*/ 7167464 h 10673146"/>
              <a:gd name="connsiteX4" fmla="*/ 0 w 3505682"/>
              <a:gd name="connsiteY4" fmla="*/ 10673146 h 10673146"/>
              <a:gd name="connsiteX5" fmla="*/ 0 w 3505682"/>
              <a:gd name="connsiteY5" fmla="*/ 925479 h 10673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05682" h="10673146">
                <a:moveTo>
                  <a:pt x="0" y="925479"/>
                </a:moveTo>
                <a:lnTo>
                  <a:pt x="925478" y="0"/>
                </a:lnTo>
                <a:lnTo>
                  <a:pt x="3505682" y="2580205"/>
                </a:lnTo>
                <a:lnTo>
                  <a:pt x="3505682" y="7167464"/>
                </a:lnTo>
                <a:lnTo>
                  <a:pt x="0" y="10673146"/>
                </a:lnTo>
                <a:lnTo>
                  <a:pt x="0" y="925479"/>
                </a:lnTo>
                <a:close/>
              </a:path>
            </a:pathLst>
          </a:custGeom>
          <a:gradFill>
            <a:gsLst>
              <a:gs pos="24000">
                <a:schemeClr val="accent4"/>
              </a:gs>
              <a:gs pos="87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8D3A6683-B1EA-4507-96A9-030793602B44}"/>
              </a:ext>
            </a:extLst>
          </p:cNvPr>
          <p:cNvSpPr/>
          <p:nvPr userDrawn="1"/>
        </p:nvSpPr>
        <p:spPr>
          <a:xfrm rot="2700000">
            <a:off x="9753830" y="1674738"/>
            <a:ext cx="970552" cy="6485190"/>
          </a:xfrm>
          <a:custGeom>
            <a:avLst/>
            <a:gdLst>
              <a:gd name="connsiteX0" fmla="*/ 1 w 970552"/>
              <a:gd name="connsiteY0" fmla="*/ 0 h 6485190"/>
              <a:gd name="connsiteX1" fmla="*/ 970552 w 970552"/>
              <a:gd name="connsiteY1" fmla="*/ 970551 h 6485190"/>
              <a:gd name="connsiteX2" fmla="*/ 970552 w 970552"/>
              <a:gd name="connsiteY2" fmla="*/ 5514638 h 6485190"/>
              <a:gd name="connsiteX3" fmla="*/ 0 w 970552"/>
              <a:gd name="connsiteY3" fmla="*/ 6485190 h 64851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0552" h="6485190">
                <a:moveTo>
                  <a:pt x="1" y="0"/>
                </a:moveTo>
                <a:lnTo>
                  <a:pt x="970552" y="970551"/>
                </a:lnTo>
                <a:lnTo>
                  <a:pt x="970552" y="5514638"/>
                </a:lnTo>
                <a:lnTo>
                  <a:pt x="0" y="6485190"/>
                </a:lnTo>
                <a:close/>
              </a:path>
            </a:pathLst>
          </a:custGeom>
          <a:gradFill>
            <a:gsLst>
              <a:gs pos="94000">
                <a:schemeClr val="bg1"/>
              </a:gs>
              <a:gs pos="16000">
                <a:schemeClr val="accent4"/>
              </a:gs>
              <a:gs pos="76000">
                <a:schemeClr val="bg1">
                  <a:alpha val="91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3262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– Plu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9108" y="938794"/>
            <a:ext cx="6427626" cy="1229360"/>
          </a:xfrm>
        </p:spPr>
        <p:txBody>
          <a:bodyPr wrap="square" anchor="b"/>
          <a:lstStyle>
            <a:lvl1pPr algn="l">
              <a:defRPr sz="3599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128" name="Subtitle 2">
            <a:extLst>
              <a:ext uri="{FF2B5EF4-FFF2-40B4-BE49-F238E27FC236}">
                <a16:creationId xmlns:a16="http://schemas.microsoft.com/office/drawing/2014/main" id="{6EBAFA4D-7B92-4E38-8320-94F3BCA2E41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02966" y="2267712"/>
            <a:ext cx="6408402" cy="700882"/>
          </a:xfrm>
        </p:spPr>
        <p:txBody>
          <a:bodyPr/>
          <a:lstStyle>
            <a:lvl1pPr marL="0" indent="0" algn="l">
              <a:buNone/>
              <a:defRPr sz="2399">
                <a:solidFill>
                  <a:schemeClr val="tx2"/>
                </a:solidFill>
                <a:latin typeface="+mj-lt"/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add tex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E46B5F2-170B-43F3-865D-92F5CD3F3546}"/>
              </a:ext>
            </a:extLst>
          </p:cNvPr>
          <p:cNvSpPr txBox="1"/>
          <p:nvPr userDrawn="1"/>
        </p:nvSpPr>
        <p:spPr bwMode="white"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F062DFBC-6461-46E5-9A65-C2BA6B55FAA7}"/>
              </a:ext>
            </a:extLst>
          </p:cNvPr>
          <p:cNvGrpSpPr/>
          <p:nvPr userDrawn="1"/>
        </p:nvGrpSpPr>
        <p:grpSpPr>
          <a:xfrm>
            <a:off x="608013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067657A-03A1-4F4F-AD0D-A5B15521E8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03F0FBFF-D44D-482A-B547-D551EA5D3C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9A9535C7-EA42-4FC0-BF2F-9F86B58ECC7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E775250D-8931-4334-BAE4-BDDB0695417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46FFD602-6135-4BEE-BB2A-C867FBE1FF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14A9D646-E9F0-4A52-BD9E-F04121BF45F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A919FBF8-B563-4387-B270-79EB182CF7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5B407C40-A805-4838-8B00-1B2AAC94FDCD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9428A741-FAD5-4234-862D-6AB7431CF1B6}"/>
              </a:ext>
            </a:extLst>
          </p:cNvPr>
          <p:cNvSpPr/>
          <p:nvPr userDrawn="1"/>
        </p:nvSpPr>
        <p:spPr>
          <a:xfrm rot="2700000">
            <a:off x="7247491" y="-1003602"/>
            <a:ext cx="3505682" cy="10673146"/>
          </a:xfrm>
          <a:custGeom>
            <a:avLst/>
            <a:gdLst>
              <a:gd name="connsiteX0" fmla="*/ 0 w 3505682"/>
              <a:gd name="connsiteY0" fmla="*/ 925479 h 10673146"/>
              <a:gd name="connsiteX1" fmla="*/ 925478 w 3505682"/>
              <a:gd name="connsiteY1" fmla="*/ 0 h 10673146"/>
              <a:gd name="connsiteX2" fmla="*/ 3505682 w 3505682"/>
              <a:gd name="connsiteY2" fmla="*/ 2580205 h 10673146"/>
              <a:gd name="connsiteX3" fmla="*/ 3505682 w 3505682"/>
              <a:gd name="connsiteY3" fmla="*/ 7167464 h 10673146"/>
              <a:gd name="connsiteX4" fmla="*/ 0 w 3505682"/>
              <a:gd name="connsiteY4" fmla="*/ 10673146 h 10673146"/>
              <a:gd name="connsiteX5" fmla="*/ 0 w 3505682"/>
              <a:gd name="connsiteY5" fmla="*/ 925479 h 10673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05682" h="10673146">
                <a:moveTo>
                  <a:pt x="0" y="925479"/>
                </a:moveTo>
                <a:lnTo>
                  <a:pt x="925478" y="0"/>
                </a:lnTo>
                <a:lnTo>
                  <a:pt x="3505682" y="2580205"/>
                </a:lnTo>
                <a:lnTo>
                  <a:pt x="3505682" y="7167464"/>
                </a:lnTo>
                <a:lnTo>
                  <a:pt x="0" y="10673146"/>
                </a:lnTo>
                <a:lnTo>
                  <a:pt x="0" y="925479"/>
                </a:lnTo>
                <a:close/>
              </a:path>
            </a:pathLst>
          </a:custGeom>
          <a:gradFill>
            <a:gsLst>
              <a:gs pos="24000">
                <a:srgbClr val="7F35AB"/>
              </a:gs>
              <a:gs pos="87000">
                <a:srgbClr val="264088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8D3A6683-B1EA-4507-96A9-030793602B44}"/>
              </a:ext>
            </a:extLst>
          </p:cNvPr>
          <p:cNvSpPr/>
          <p:nvPr userDrawn="1"/>
        </p:nvSpPr>
        <p:spPr>
          <a:xfrm rot="2700000">
            <a:off x="9753830" y="1674738"/>
            <a:ext cx="970552" cy="6485190"/>
          </a:xfrm>
          <a:custGeom>
            <a:avLst/>
            <a:gdLst>
              <a:gd name="connsiteX0" fmla="*/ 1 w 970552"/>
              <a:gd name="connsiteY0" fmla="*/ 0 h 6485190"/>
              <a:gd name="connsiteX1" fmla="*/ 970552 w 970552"/>
              <a:gd name="connsiteY1" fmla="*/ 970551 h 6485190"/>
              <a:gd name="connsiteX2" fmla="*/ 970552 w 970552"/>
              <a:gd name="connsiteY2" fmla="*/ 5514638 h 6485190"/>
              <a:gd name="connsiteX3" fmla="*/ 0 w 970552"/>
              <a:gd name="connsiteY3" fmla="*/ 6485190 h 64851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0552" h="6485190">
                <a:moveTo>
                  <a:pt x="1" y="0"/>
                </a:moveTo>
                <a:lnTo>
                  <a:pt x="970552" y="970551"/>
                </a:lnTo>
                <a:lnTo>
                  <a:pt x="970552" y="5514638"/>
                </a:lnTo>
                <a:lnTo>
                  <a:pt x="0" y="6485190"/>
                </a:lnTo>
                <a:close/>
              </a:path>
            </a:pathLst>
          </a:custGeom>
          <a:gradFill>
            <a:gsLst>
              <a:gs pos="20000">
                <a:srgbClr val="7F35AB"/>
              </a:gs>
              <a:gs pos="95000">
                <a:schemeClr val="bg1"/>
              </a:gs>
              <a:gs pos="74000">
                <a:schemeClr val="bg1">
                  <a:alpha val="79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8132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–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9108" y="938794"/>
            <a:ext cx="6427626" cy="1229360"/>
          </a:xfrm>
        </p:spPr>
        <p:txBody>
          <a:bodyPr wrap="square" anchor="b"/>
          <a:lstStyle>
            <a:lvl1pPr algn="l">
              <a:defRPr sz="3599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128" name="Subtitle 2">
            <a:extLst>
              <a:ext uri="{FF2B5EF4-FFF2-40B4-BE49-F238E27FC236}">
                <a16:creationId xmlns:a16="http://schemas.microsoft.com/office/drawing/2014/main" id="{6EBAFA4D-7B92-4E38-8320-94F3BCA2E41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02966" y="2267712"/>
            <a:ext cx="6408402" cy="700882"/>
          </a:xfrm>
        </p:spPr>
        <p:txBody>
          <a:bodyPr/>
          <a:lstStyle>
            <a:lvl1pPr marL="0" indent="0" algn="l">
              <a:buNone/>
              <a:defRPr sz="2399">
                <a:solidFill>
                  <a:schemeClr val="tx2"/>
                </a:solidFill>
                <a:latin typeface="+mj-lt"/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add tex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E46B5F2-170B-43F3-865D-92F5CD3F3546}"/>
              </a:ext>
            </a:extLst>
          </p:cNvPr>
          <p:cNvSpPr txBox="1"/>
          <p:nvPr userDrawn="1"/>
        </p:nvSpPr>
        <p:spPr bwMode="white"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F062DFBC-6461-46E5-9A65-C2BA6B55FAA7}"/>
              </a:ext>
            </a:extLst>
          </p:cNvPr>
          <p:cNvGrpSpPr/>
          <p:nvPr userDrawn="1"/>
        </p:nvGrpSpPr>
        <p:grpSpPr>
          <a:xfrm>
            <a:off x="608013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067657A-03A1-4F4F-AD0D-A5B15521E8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03F0FBFF-D44D-482A-B547-D551EA5D3C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9A9535C7-EA42-4FC0-BF2F-9F86B58ECC7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E775250D-8931-4334-BAE4-BDDB0695417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46FFD602-6135-4BEE-BB2A-C867FBE1FF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14A9D646-E9F0-4A52-BD9E-F04121BF45F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A919FBF8-B563-4387-B270-79EB182CF7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5B407C40-A805-4838-8B00-1B2AAC94FDCD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9428A741-FAD5-4234-862D-6AB7431CF1B6}"/>
              </a:ext>
            </a:extLst>
          </p:cNvPr>
          <p:cNvSpPr/>
          <p:nvPr userDrawn="1"/>
        </p:nvSpPr>
        <p:spPr>
          <a:xfrm rot="2700000">
            <a:off x="7247491" y="-1003602"/>
            <a:ext cx="3505682" cy="10673146"/>
          </a:xfrm>
          <a:custGeom>
            <a:avLst/>
            <a:gdLst>
              <a:gd name="connsiteX0" fmla="*/ 0 w 3505682"/>
              <a:gd name="connsiteY0" fmla="*/ 925479 h 10673146"/>
              <a:gd name="connsiteX1" fmla="*/ 925478 w 3505682"/>
              <a:gd name="connsiteY1" fmla="*/ 0 h 10673146"/>
              <a:gd name="connsiteX2" fmla="*/ 3505682 w 3505682"/>
              <a:gd name="connsiteY2" fmla="*/ 2580205 h 10673146"/>
              <a:gd name="connsiteX3" fmla="*/ 3505682 w 3505682"/>
              <a:gd name="connsiteY3" fmla="*/ 7167464 h 10673146"/>
              <a:gd name="connsiteX4" fmla="*/ 0 w 3505682"/>
              <a:gd name="connsiteY4" fmla="*/ 10673146 h 10673146"/>
              <a:gd name="connsiteX5" fmla="*/ 0 w 3505682"/>
              <a:gd name="connsiteY5" fmla="*/ 925479 h 10673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05682" h="10673146">
                <a:moveTo>
                  <a:pt x="0" y="925479"/>
                </a:moveTo>
                <a:lnTo>
                  <a:pt x="925478" y="0"/>
                </a:lnTo>
                <a:lnTo>
                  <a:pt x="3505682" y="2580205"/>
                </a:lnTo>
                <a:lnTo>
                  <a:pt x="3505682" y="7167464"/>
                </a:lnTo>
                <a:lnTo>
                  <a:pt x="0" y="10673146"/>
                </a:lnTo>
                <a:lnTo>
                  <a:pt x="0" y="925479"/>
                </a:lnTo>
                <a:close/>
              </a:path>
            </a:pathLst>
          </a:custGeom>
          <a:gradFill>
            <a:gsLst>
              <a:gs pos="24000">
                <a:schemeClr val="accent3"/>
              </a:gs>
              <a:gs pos="87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8D3A6683-B1EA-4507-96A9-030793602B44}"/>
              </a:ext>
            </a:extLst>
          </p:cNvPr>
          <p:cNvSpPr/>
          <p:nvPr userDrawn="1"/>
        </p:nvSpPr>
        <p:spPr>
          <a:xfrm rot="2700000">
            <a:off x="9753830" y="1674738"/>
            <a:ext cx="970552" cy="6485190"/>
          </a:xfrm>
          <a:custGeom>
            <a:avLst/>
            <a:gdLst>
              <a:gd name="connsiteX0" fmla="*/ 1 w 970552"/>
              <a:gd name="connsiteY0" fmla="*/ 0 h 6485190"/>
              <a:gd name="connsiteX1" fmla="*/ 970552 w 970552"/>
              <a:gd name="connsiteY1" fmla="*/ 970551 h 6485190"/>
              <a:gd name="connsiteX2" fmla="*/ 970552 w 970552"/>
              <a:gd name="connsiteY2" fmla="*/ 5514638 h 6485190"/>
              <a:gd name="connsiteX3" fmla="*/ 0 w 970552"/>
              <a:gd name="connsiteY3" fmla="*/ 6485190 h 64851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0552" h="6485190">
                <a:moveTo>
                  <a:pt x="1" y="0"/>
                </a:moveTo>
                <a:lnTo>
                  <a:pt x="970552" y="970551"/>
                </a:lnTo>
                <a:lnTo>
                  <a:pt x="970552" y="5514638"/>
                </a:lnTo>
                <a:lnTo>
                  <a:pt x="0" y="6485190"/>
                </a:lnTo>
                <a:close/>
              </a:path>
            </a:pathLst>
          </a:custGeom>
          <a:gradFill>
            <a:gsLst>
              <a:gs pos="24000">
                <a:schemeClr val="accent3"/>
              </a:gs>
              <a:gs pos="80511">
                <a:schemeClr val="bg1">
                  <a:alpha val="76000"/>
                </a:schemeClr>
              </a:gs>
              <a:gs pos="100000">
                <a:schemeClr val="bg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6255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Phot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sosceles Triangle 1">
            <a:extLst>
              <a:ext uri="{FF2B5EF4-FFF2-40B4-BE49-F238E27FC236}">
                <a16:creationId xmlns:a16="http://schemas.microsoft.com/office/drawing/2014/main" id="{B4BC3A27-8DAD-4476-9725-CF11880123D8}"/>
              </a:ext>
            </a:extLst>
          </p:cNvPr>
          <p:cNvSpPr/>
          <p:nvPr userDrawn="1"/>
        </p:nvSpPr>
        <p:spPr>
          <a:xfrm>
            <a:off x="8943276" y="3622878"/>
            <a:ext cx="3251263" cy="3253579"/>
          </a:xfrm>
          <a:prstGeom prst="triangle">
            <a:avLst>
              <a:gd name="adj" fmla="val 10000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046FCD12-70AD-43E4-97A5-E350476D993C}"/>
              </a:ext>
            </a:extLst>
          </p:cNvPr>
          <p:cNvSpPr/>
          <p:nvPr userDrawn="1"/>
        </p:nvSpPr>
        <p:spPr>
          <a:xfrm rot="10800000">
            <a:off x="0" y="-1"/>
            <a:ext cx="10873127" cy="6868836"/>
          </a:xfrm>
          <a:custGeom>
            <a:avLst/>
            <a:gdLst>
              <a:gd name="connsiteX0" fmla="*/ 10873127 w 10873127"/>
              <a:gd name="connsiteY0" fmla="*/ 6868836 h 6868836"/>
              <a:gd name="connsiteX1" fmla="*/ 0 w 10873127"/>
              <a:gd name="connsiteY1" fmla="*/ 6868836 h 6868836"/>
              <a:gd name="connsiteX2" fmla="*/ 6863947 w 10873127"/>
              <a:gd name="connsiteY2" fmla="*/ 0 h 6868836"/>
              <a:gd name="connsiteX3" fmla="*/ 10873127 w 10873127"/>
              <a:gd name="connsiteY3" fmla="*/ 0 h 6868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873127" h="6868836">
                <a:moveTo>
                  <a:pt x="10873127" y="6868836"/>
                </a:moveTo>
                <a:lnTo>
                  <a:pt x="0" y="6868836"/>
                </a:lnTo>
                <a:lnTo>
                  <a:pt x="6863947" y="0"/>
                </a:lnTo>
                <a:lnTo>
                  <a:pt x="10873127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EAC21F4-620C-4207-A01D-C082619C707B}"/>
              </a:ext>
            </a:extLst>
          </p:cNvPr>
          <p:cNvSpPr txBox="1"/>
          <p:nvPr userDrawn="1"/>
        </p:nvSpPr>
        <p:spPr bwMode="white"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solidFill>
                <a:schemeClr val="tx1"/>
              </a:solidFill>
              <a:latin typeface="+mj-lt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AC6091C-E947-4C0C-85B0-C87C084ACB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9108" y="938794"/>
            <a:ext cx="6427626" cy="1229360"/>
          </a:xfrm>
        </p:spPr>
        <p:txBody>
          <a:bodyPr wrap="square" anchor="b"/>
          <a:lstStyle>
            <a:lvl1pPr algn="l">
              <a:defRPr sz="3599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A2044BBD-0109-43FF-A52D-8FA2841A4DF6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02966" y="2267712"/>
            <a:ext cx="6408402" cy="700882"/>
          </a:xfrm>
        </p:spPr>
        <p:txBody>
          <a:bodyPr/>
          <a:lstStyle>
            <a:lvl1pPr marL="0" indent="0" algn="l">
              <a:buNone/>
              <a:defRPr sz="2399">
                <a:solidFill>
                  <a:schemeClr val="accent4"/>
                </a:solidFill>
                <a:latin typeface="+mj-lt"/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add text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D0EECB4-F8FF-42F6-B913-97C4F2956537}"/>
              </a:ext>
            </a:extLst>
          </p:cNvPr>
          <p:cNvGrpSpPr/>
          <p:nvPr userDrawn="1"/>
        </p:nvGrpSpPr>
        <p:grpSpPr>
          <a:xfrm>
            <a:off x="608013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A2743E06-9EDE-42AB-954B-24AD2E0EDE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F727B63B-9DDF-4464-B305-91E2F1F53A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BE99358C-EF1D-4887-8E23-C6B6EFECC05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AB115210-A643-4048-8CE2-AE858AA6D28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DADAB024-3024-4445-96A4-008D5EBBB3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8C49FA45-007B-4A99-BFB8-737C3A292BE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6" name="Freeform 12">
              <a:extLst>
                <a:ext uri="{FF2B5EF4-FFF2-40B4-BE49-F238E27FC236}">
                  <a16:creationId xmlns:a16="http://schemas.microsoft.com/office/drawing/2014/main" id="{6AD6968C-6030-4061-9BA9-3E345BE073B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9267F80E-E3AF-43A3-AA96-C701371ACCD5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C7F4685D-9D09-447C-9352-68EBB79D3FB6}"/>
              </a:ext>
            </a:extLst>
          </p:cNvPr>
          <p:cNvSpPr/>
          <p:nvPr userDrawn="1"/>
        </p:nvSpPr>
        <p:spPr>
          <a:xfrm rot="2700000">
            <a:off x="9037252" y="3334945"/>
            <a:ext cx="970552" cy="4540137"/>
          </a:xfrm>
          <a:custGeom>
            <a:avLst/>
            <a:gdLst>
              <a:gd name="connsiteX0" fmla="*/ 1 w 970552"/>
              <a:gd name="connsiteY0" fmla="*/ 970551 h 4540137"/>
              <a:gd name="connsiteX1" fmla="*/ 970552 w 970552"/>
              <a:gd name="connsiteY1" fmla="*/ 0 h 4540137"/>
              <a:gd name="connsiteX2" fmla="*/ 970552 w 970552"/>
              <a:gd name="connsiteY2" fmla="*/ 3569585 h 4540137"/>
              <a:gd name="connsiteX3" fmla="*/ 0 w 970552"/>
              <a:gd name="connsiteY3" fmla="*/ 4540137 h 4540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0552" h="4540137">
                <a:moveTo>
                  <a:pt x="1" y="970551"/>
                </a:moveTo>
                <a:lnTo>
                  <a:pt x="970552" y="0"/>
                </a:lnTo>
                <a:lnTo>
                  <a:pt x="970552" y="3569585"/>
                </a:lnTo>
                <a:lnTo>
                  <a:pt x="0" y="4540137"/>
                </a:lnTo>
                <a:close/>
              </a:path>
            </a:pathLst>
          </a:custGeom>
          <a:gradFill>
            <a:gsLst>
              <a:gs pos="0">
                <a:schemeClr val="accent4">
                  <a:alpha val="64000"/>
                </a:schemeClr>
              </a:gs>
              <a:gs pos="83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7097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Photo – Plum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046FCD12-70AD-43E4-97A5-E350476D993C}"/>
              </a:ext>
            </a:extLst>
          </p:cNvPr>
          <p:cNvSpPr/>
          <p:nvPr userDrawn="1"/>
        </p:nvSpPr>
        <p:spPr>
          <a:xfrm rot="10800000">
            <a:off x="0" y="-1"/>
            <a:ext cx="10873127" cy="6868836"/>
          </a:xfrm>
          <a:custGeom>
            <a:avLst/>
            <a:gdLst>
              <a:gd name="connsiteX0" fmla="*/ 10873127 w 10873127"/>
              <a:gd name="connsiteY0" fmla="*/ 6868836 h 6868836"/>
              <a:gd name="connsiteX1" fmla="*/ 0 w 10873127"/>
              <a:gd name="connsiteY1" fmla="*/ 6868836 h 6868836"/>
              <a:gd name="connsiteX2" fmla="*/ 6863947 w 10873127"/>
              <a:gd name="connsiteY2" fmla="*/ 0 h 6868836"/>
              <a:gd name="connsiteX3" fmla="*/ 10873127 w 10873127"/>
              <a:gd name="connsiteY3" fmla="*/ 0 h 6868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873127" h="6868836">
                <a:moveTo>
                  <a:pt x="10873127" y="6868836"/>
                </a:moveTo>
                <a:lnTo>
                  <a:pt x="0" y="6868836"/>
                </a:lnTo>
                <a:lnTo>
                  <a:pt x="6863947" y="0"/>
                </a:lnTo>
                <a:lnTo>
                  <a:pt x="10873127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AC6091C-E947-4C0C-85B0-C87C084ACB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9108" y="938794"/>
            <a:ext cx="6427626" cy="1229360"/>
          </a:xfrm>
        </p:spPr>
        <p:txBody>
          <a:bodyPr wrap="square" anchor="b"/>
          <a:lstStyle>
            <a:lvl1pPr algn="l">
              <a:defRPr sz="3599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A2044BBD-0109-43FF-A52D-8FA2841A4DF6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02966" y="2267712"/>
            <a:ext cx="6408402" cy="700882"/>
          </a:xfrm>
        </p:spPr>
        <p:txBody>
          <a:bodyPr/>
          <a:lstStyle>
            <a:lvl1pPr marL="0" indent="0" algn="l">
              <a:buNone/>
              <a:defRPr sz="2399">
                <a:solidFill>
                  <a:schemeClr val="tx2"/>
                </a:solidFill>
                <a:latin typeface="+mj-lt"/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add text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D0EECB4-F8FF-42F6-B913-97C4F2956537}"/>
              </a:ext>
            </a:extLst>
          </p:cNvPr>
          <p:cNvGrpSpPr/>
          <p:nvPr userDrawn="1"/>
        </p:nvGrpSpPr>
        <p:grpSpPr>
          <a:xfrm>
            <a:off x="608013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A2743E06-9EDE-42AB-954B-24AD2E0EDE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F727B63B-9DDF-4464-B305-91E2F1F53A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BE99358C-EF1D-4887-8E23-C6B6EFECC05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AB115210-A643-4048-8CE2-AE858AA6D28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DADAB024-3024-4445-96A4-008D5EBBB3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8C49FA45-007B-4A99-BFB8-737C3A292BE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  <p:sp>
          <p:nvSpPr>
            <p:cNvPr id="26" name="Freeform 12">
              <a:extLst>
                <a:ext uri="{FF2B5EF4-FFF2-40B4-BE49-F238E27FC236}">
                  <a16:creationId xmlns:a16="http://schemas.microsoft.com/office/drawing/2014/main" id="{6AD6968C-6030-4061-9BA9-3E345BE073B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/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9267F80E-E3AF-43A3-AA96-C701371ACCD5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1B9CF672-C886-4A4A-B8C7-6054BDA7C6F8}"/>
              </a:ext>
            </a:extLst>
          </p:cNvPr>
          <p:cNvSpPr/>
          <p:nvPr userDrawn="1"/>
        </p:nvSpPr>
        <p:spPr>
          <a:xfrm>
            <a:off x="8943276" y="3622878"/>
            <a:ext cx="3251263" cy="3253579"/>
          </a:xfrm>
          <a:prstGeom prst="triangle">
            <a:avLst>
              <a:gd name="adj" fmla="val 10000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279CBF5F-64CA-43B4-BB06-18EC3F20B58A}"/>
              </a:ext>
            </a:extLst>
          </p:cNvPr>
          <p:cNvSpPr/>
          <p:nvPr userDrawn="1"/>
        </p:nvSpPr>
        <p:spPr>
          <a:xfrm rot="2700000">
            <a:off x="9037252" y="3334945"/>
            <a:ext cx="970552" cy="4540137"/>
          </a:xfrm>
          <a:custGeom>
            <a:avLst/>
            <a:gdLst>
              <a:gd name="connsiteX0" fmla="*/ 1 w 970552"/>
              <a:gd name="connsiteY0" fmla="*/ 970551 h 4540137"/>
              <a:gd name="connsiteX1" fmla="*/ 970552 w 970552"/>
              <a:gd name="connsiteY1" fmla="*/ 0 h 4540137"/>
              <a:gd name="connsiteX2" fmla="*/ 970552 w 970552"/>
              <a:gd name="connsiteY2" fmla="*/ 3569585 h 4540137"/>
              <a:gd name="connsiteX3" fmla="*/ 0 w 970552"/>
              <a:gd name="connsiteY3" fmla="*/ 4540137 h 4540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0552" h="4540137">
                <a:moveTo>
                  <a:pt x="1" y="970551"/>
                </a:moveTo>
                <a:lnTo>
                  <a:pt x="970552" y="0"/>
                </a:lnTo>
                <a:lnTo>
                  <a:pt x="970552" y="3569585"/>
                </a:lnTo>
                <a:lnTo>
                  <a:pt x="0" y="4540137"/>
                </a:lnTo>
                <a:close/>
              </a:path>
            </a:pathLst>
          </a:custGeom>
          <a:gradFill>
            <a:gsLst>
              <a:gs pos="24000">
                <a:srgbClr val="7F35AB">
                  <a:alpha val="57000"/>
                </a:srgbClr>
              </a:gs>
              <a:gs pos="87000">
                <a:srgbClr val="264088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EAC21F4-620C-4207-A01D-C082619C707B}"/>
              </a:ext>
            </a:extLst>
          </p:cNvPr>
          <p:cNvSpPr txBox="1"/>
          <p:nvPr userDrawn="1"/>
        </p:nvSpPr>
        <p:spPr bwMode="white"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729345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2.sv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26" Type="http://schemas.openxmlformats.org/officeDocument/2006/relationships/slideLayout" Target="../slideLayouts/slideLayout66.xml"/><Relationship Id="rId39" Type="http://schemas.openxmlformats.org/officeDocument/2006/relationships/slideLayout" Target="../slideLayouts/slideLayout79.xml"/><Relationship Id="rId21" Type="http://schemas.openxmlformats.org/officeDocument/2006/relationships/slideLayout" Target="../slideLayouts/slideLayout61.xml"/><Relationship Id="rId34" Type="http://schemas.openxmlformats.org/officeDocument/2006/relationships/slideLayout" Target="../slideLayouts/slideLayout74.xml"/><Relationship Id="rId42" Type="http://schemas.openxmlformats.org/officeDocument/2006/relationships/slideLayout" Target="../slideLayouts/slideLayout82.xml"/><Relationship Id="rId47" Type="http://schemas.openxmlformats.org/officeDocument/2006/relationships/slideLayout" Target="../slideLayouts/slideLayout87.xml"/><Relationship Id="rId50" Type="http://schemas.openxmlformats.org/officeDocument/2006/relationships/slideLayout" Target="../slideLayouts/slideLayout90.xml"/><Relationship Id="rId7" Type="http://schemas.openxmlformats.org/officeDocument/2006/relationships/slideLayout" Target="../slideLayouts/slideLayout47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9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51.xml"/><Relationship Id="rId24" Type="http://schemas.openxmlformats.org/officeDocument/2006/relationships/slideLayout" Target="../slideLayouts/slideLayout64.xml"/><Relationship Id="rId32" Type="http://schemas.openxmlformats.org/officeDocument/2006/relationships/slideLayout" Target="../slideLayouts/slideLayout72.xml"/><Relationship Id="rId37" Type="http://schemas.openxmlformats.org/officeDocument/2006/relationships/slideLayout" Target="../slideLayouts/slideLayout77.xml"/><Relationship Id="rId40" Type="http://schemas.openxmlformats.org/officeDocument/2006/relationships/slideLayout" Target="../slideLayouts/slideLayout80.xml"/><Relationship Id="rId45" Type="http://schemas.openxmlformats.org/officeDocument/2006/relationships/slideLayout" Target="../slideLayouts/slideLayout85.xml"/><Relationship Id="rId53" Type="http://schemas.openxmlformats.org/officeDocument/2006/relationships/image" Target="../media/image2.svg"/><Relationship Id="rId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31" Type="http://schemas.openxmlformats.org/officeDocument/2006/relationships/slideLayout" Target="../slideLayouts/slideLayout71.xml"/><Relationship Id="rId44" Type="http://schemas.openxmlformats.org/officeDocument/2006/relationships/slideLayout" Target="../slideLayouts/slideLayout84.xml"/><Relationship Id="rId52" Type="http://schemas.openxmlformats.org/officeDocument/2006/relationships/image" Target="../media/image1.png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slideLayout" Target="../slideLayouts/slideLayout62.xml"/><Relationship Id="rId27" Type="http://schemas.openxmlformats.org/officeDocument/2006/relationships/slideLayout" Target="../slideLayouts/slideLayout67.xml"/><Relationship Id="rId30" Type="http://schemas.openxmlformats.org/officeDocument/2006/relationships/slideLayout" Target="../slideLayouts/slideLayout70.xml"/><Relationship Id="rId35" Type="http://schemas.openxmlformats.org/officeDocument/2006/relationships/slideLayout" Target="../slideLayouts/slideLayout75.xml"/><Relationship Id="rId43" Type="http://schemas.openxmlformats.org/officeDocument/2006/relationships/slideLayout" Target="../slideLayouts/slideLayout83.xml"/><Relationship Id="rId48" Type="http://schemas.openxmlformats.org/officeDocument/2006/relationships/slideLayout" Target="../slideLayouts/slideLayout88.xml"/><Relationship Id="rId8" Type="http://schemas.openxmlformats.org/officeDocument/2006/relationships/slideLayout" Target="../slideLayouts/slideLayout48.xml"/><Relationship Id="rId51" Type="http://schemas.openxmlformats.org/officeDocument/2006/relationships/theme" Target="../theme/theme2.xml"/><Relationship Id="rId3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5" Type="http://schemas.openxmlformats.org/officeDocument/2006/relationships/slideLayout" Target="../slideLayouts/slideLayout65.xml"/><Relationship Id="rId33" Type="http://schemas.openxmlformats.org/officeDocument/2006/relationships/slideLayout" Target="../slideLayouts/slideLayout73.xml"/><Relationship Id="rId38" Type="http://schemas.openxmlformats.org/officeDocument/2006/relationships/slideLayout" Target="../slideLayouts/slideLayout78.xml"/><Relationship Id="rId46" Type="http://schemas.openxmlformats.org/officeDocument/2006/relationships/slideLayout" Target="../slideLayouts/slideLayout86.xml"/><Relationship Id="rId20" Type="http://schemas.openxmlformats.org/officeDocument/2006/relationships/slideLayout" Target="../slideLayouts/slideLayout60.xml"/><Relationship Id="rId41" Type="http://schemas.openxmlformats.org/officeDocument/2006/relationships/slideLayout" Target="../slideLayouts/slideLayout81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5.xml"/><Relationship Id="rId23" Type="http://schemas.openxmlformats.org/officeDocument/2006/relationships/slideLayout" Target="../slideLayouts/slideLayout63.xml"/><Relationship Id="rId28" Type="http://schemas.openxmlformats.org/officeDocument/2006/relationships/slideLayout" Target="../slideLayouts/slideLayout68.xml"/><Relationship Id="rId36" Type="http://schemas.openxmlformats.org/officeDocument/2006/relationships/slideLayout" Target="../slideLayouts/slideLayout76.xml"/><Relationship Id="rId49" Type="http://schemas.openxmlformats.org/officeDocument/2006/relationships/slideLayout" Target="../slideLayouts/slideLayout89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3.xml"/><Relationship Id="rId18" Type="http://schemas.openxmlformats.org/officeDocument/2006/relationships/slideLayout" Target="../slideLayouts/slideLayout108.xml"/><Relationship Id="rId26" Type="http://schemas.openxmlformats.org/officeDocument/2006/relationships/slideLayout" Target="../slideLayouts/slideLayout116.xml"/><Relationship Id="rId39" Type="http://schemas.openxmlformats.org/officeDocument/2006/relationships/slideLayout" Target="../slideLayouts/slideLayout129.xml"/><Relationship Id="rId21" Type="http://schemas.openxmlformats.org/officeDocument/2006/relationships/slideLayout" Target="../slideLayouts/slideLayout111.xml"/><Relationship Id="rId34" Type="http://schemas.openxmlformats.org/officeDocument/2006/relationships/slideLayout" Target="../slideLayouts/slideLayout124.xml"/><Relationship Id="rId42" Type="http://schemas.openxmlformats.org/officeDocument/2006/relationships/slideLayout" Target="../slideLayouts/slideLayout132.xml"/><Relationship Id="rId47" Type="http://schemas.openxmlformats.org/officeDocument/2006/relationships/slideLayout" Target="../slideLayouts/slideLayout137.xml"/><Relationship Id="rId50" Type="http://schemas.openxmlformats.org/officeDocument/2006/relationships/theme" Target="../theme/theme3.xml"/><Relationship Id="rId7" Type="http://schemas.openxmlformats.org/officeDocument/2006/relationships/slideLayout" Target="../slideLayouts/slideLayout97.xml"/><Relationship Id="rId2" Type="http://schemas.openxmlformats.org/officeDocument/2006/relationships/slideLayout" Target="../slideLayouts/slideLayout92.xml"/><Relationship Id="rId16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9.xml"/><Relationship Id="rId11" Type="http://schemas.openxmlformats.org/officeDocument/2006/relationships/slideLayout" Target="../slideLayouts/slideLayout101.xml"/><Relationship Id="rId24" Type="http://schemas.openxmlformats.org/officeDocument/2006/relationships/slideLayout" Target="../slideLayouts/slideLayout114.xml"/><Relationship Id="rId32" Type="http://schemas.openxmlformats.org/officeDocument/2006/relationships/slideLayout" Target="../slideLayouts/slideLayout122.xml"/><Relationship Id="rId37" Type="http://schemas.openxmlformats.org/officeDocument/2006/relationships/slideLayout" Target="../slideLayouts/slideLayout127.xml"/><Relationship Id="rId40" Type="http://schemas.openxmlformats.org/officeDocument/2006/relationships/slideLayout" Target="../slideLayouts/slideLayout130.xml"/><Relationship Id="rId45" Type="http://schemas.openxmlformats.org/officeDocument/2006/relationships/slideLayout" Target="../slideLayouts/slideLayout135.xml"/><Relationship Id="rId5" Type="http://schemas.openxmlformats.org/officeDocument/2006/relationships/slideLayout" Target="../slideLayouts/slideLayout95.xml"/><Relationship Id="rId15" Type="http://schemas.openxmlformats.org/officeDocument/2006/relationships/slideLayout" Target="../slideLayouts/slideLayout105.xml"/><Relationship Id="rId23" Type="http://schemas.openxmlformats.org/officeDocument/2006/relationships/slideLayout" Target="../slideLayouts/slideLayout113.xml"/><Relationship Id="rId28" Type="http://schemas.openxmlformats.org/officeDocument/2006/relationships/slideLayout" Target="../slideLayouts/slideLayout118.xml"/><Relationship Id="rId36" Type="http://schemas.openxmlformats.org/officeDocument/2006/relationships/slideLayout" Target="../slideLayouts/slideLayout126.xml"/><Relationship Id="rId49" Type="http://schemas.openxmlformats.org/officeDocument/2006/relationships/slideLayout" Target="../slideLayouts/slideLayout139.xml"/><Relationship Id="rId10" Type="http://schemas.openxmlformats.org/officeDocument/2006/relationships/slideLayout" Target="../slideLayouts/slideLayout100.xml"/><Relationship Id="rId19" Type="http://schemas.openxmlformats.org/officeDocument/2006/relationships/slideLayout" Target="../slideLayouts/slideLayout109.xml"/><Relationship Id="rId31" Type="http://schemas.openxmlformats.org/officeDocument/2006/relationships/slideLayout" Target="../slideLayouts/slideLayout121.xml"/><Relationship Id="rId44" Type="http://schemas.openxmlformats.org/officeDocument/2006/relationships/slideLayout" Target="../slideLayouts/slideLayout134.xml"/><Relationship Id="rId52" Type="http://schemas.openxmlformats.org/officeDocument/2006/relationships/image" Target="../media/image14.svg"/><Relationship Id="rId4" Type="http://schemas.openxmlformats.org/officeDocument/2006/relationships/slideLayout" Target="../slideLayouts/slideLayout94.xml"/><Relationship Id="rId9" Type="http://schemas.openxmlformats.org/officeDocument/2006/relationships/slideLayout" Target="../slideLayouts/slideLayout99.xml"/><Relationship Id="rId14" Type="http://schemas.openxmlformats.org/officeDocument/2006/relationships/slideLayout" Target="../slideLayouts/slideLayout104.xml"/><Relationship Id="rId22" Type="http://schemas.openxmlformats.org/officeDocument/2006/relationships/slideLayout" Target="../slideLayouts/slideLayout112.xml"/><Relationship Id="rId27" Type="http://schemas.openxmlformats.org/officeDocument/2006/relationships/slideLayout" Target="../slideLayouts/slideLayout117.xml"/><Relationship Id="rId30" Type="http://schemas.openxmlformats.org/officeDocument/2006/relationships/slideLayout" Target="../slideLayouts/slideLayout120.xml"/><Relationship Id="rId35" Type="http://schemas.openxmlformats.org/officeDocument/2006/relationships/slideLayout" Target="../slideLayouts/slideLayout125.xml"/><Relationship Id="rId43" Type="http://schemas.openxmlformats.org/officeDocument/2006/relationships/slideLayout" Target="../slideLayouts/slideLayout133.xml"/><Relationship Id="rId48" Type="http://schemas.openxmlformats.org/officeDocument/2006/relationships/slideLayout" Target="../slideLayouts/slideLayout138.xml"/><Relationship Id="rId8" Type="http://schemas.openxmlformats.org/officeDocument/2006/relationships/slideLayout" Target="../slideLayouts/slideLayout98.xml"/><Relationship Id="rId51" Type="http://schemas.openxmlformats.org/officeDocument/2006/relationships/image" Target="../media/image1.png"/><Relationship Id="rId3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102.xml"/><Relationship Id="rId17" Type="http://schemas.openxmlformats.org/officeDocument/2006/relationships/slideLayout" Target="../slideLayouts/slideLayout107.xml"/><Relationship Id="rId25" Type="http://schemas.openxmlformats.org/officeDocument/2006/relationships/slideLayout" Target="../slideLayouts/slideLayout115.xml"/><Relationship Id="rId33" Type="http://schemas.openxmlformats.org/officeDocument/2006/relationships/slideLayout" Target="../slideLayouts/slideLayout123.xml"/><Relationship Id="rId38" Type="http://schemas.openxmlformats.org/officeDocument/2006/relationships/slideLayout" Target="../slideLayouts/slideLayout128.xml"/><Relationship Id="rId46" Type="http://schemas.openxmlformats.org/officeDocument/2006/relationships/slideLayout" Target="../slideLayouts/slideLayout136.xml"/><Relationship Id="rId20" Type="http://schemas.openxmlformats.org/officeDocument/2006/relationships/slideLayout" Target="../slideLayouts/slideLayout110.xml"/><Relationship Id="rId41" Type="http://schemas.openxmlformats.org/officeDocument/2006/relationships/slideLayout" Target="../slideLayouts/slideLayout131.x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52.xml"/><Relationship Id="rId18" Type="http://schemas.openxmlformats.org/officeDocument/2006/relationships/slideLayout" Target="../slideLayouts/slideLayout157.xml"/><Relationship Id="rId26" Type="http://schemas.openxmlformats.org/officeDocument/2006/relationships/slideLayout" Target="../slideLayouts/slideLayout165.xml"/><Relationship Id="rId39" Type="http://schemas.openxmlformats.org/officeDocument/2006/relationships/slideLayout" Target="../slideLayouts/slideLayout178.xml"/><Relationship Id="rId21" Type="http://schemas.openxmlformats.org/officeDocument/2006/relationships/slideLayout" Target="../slideLayouts/slideLayout160.xml"/><Relationship Id="rId34" Type="http://schemas.openxmlformats.org/officeDocument/2006/relationships/slideLayout" Target="../slideLayouts/slideLayout173.xml"/><Relationship Id="rId42" Type="http://schemas.openxmlformats.org/officeDocument/2006/relationships/slideLayout" Target="../slideLayouts/slideLayout181.xml"/><Relationship Id="rId47" Type="http://schemas.openxmlformats.org/officeDocument/2006/relationships/slideLayout" Target="../slideLayouts/slideLayout186.xml"/><Relationship Id="rId50" Type="http://schemas.openxmlformats.org/officeDocument/2006/relationships/theme" Target="../theme/theme4.xml"/><Relationship Id="rId7" Type="http://schemas.openxmlformats.org/officeDocument/2006/relationships/slideLayout" Target="../slideLayouts/slideLayout146.xml"/><Relationship Id="rId2" Type="http://schemas.openxmlformats.org/officeDocument/2006/relationships/slideLayout" Target="../slideLayouts/slideLayout141.xml"/><Relationship Id="rId16" Type="http://schemas.openxmlformats.org/officeDocument/2006/relationships/slideLayout" Target="../slideLayouts/slideLayout155.xml"/><Relationship Id="rId29" Type="http://schemas.openxmlformats.org/officeDocument/2006/relationships/slideLayout" Target="../slideLayouts/slideLayout168.xml"/><Relationship Id="rId11" Type="http://schemas.openxmlformats.org/officeDocument/2006/relationships/slideLayout" Target="../slideLayouts/slideLayout150.xml"/><Relationship Id="rId24" Type="http://schemas.openxmlformats.org/officeDocument/2006/relationships/slideLayout" Target="../slideLayouts/slideLayout163.xml"/><Relationship Id="rId32" Type="http://schemas.openxmlformats.org/officeDocument/2006/relationships/slideLayout" Target="../slideLayouts/slideLayout171.xml"/><Relationship Id="rId37" Type="http://schemas.openxmlformats.org/officeDocument/2006/relationships/slideLayout" Target="../slideLayouts/slideLayout176.xml"/><Relationship Id="rId40" Type="http://schemas.openxmlformats.org/officeDocument/2006/relationships/slideLayout" Target="../slideLayouts/slideLayout179.xml"/><Relationship Id="rId45" Type="http://schemas.openxmlformats.org/officeDocument/2006/relationships/slideLayout" Target="../slideLayouts/slideLayout184.xml"/><Relationship Id="rId5" Type="http://schemas.openxmlformats.org/officeDocument/2006/relationships/slideLayout" Target="../slideLayouts/slideLayout144.xml"/><Relationship Id="rId15" Type="http://schemas.openxmlformats.org/officeDocument/2006/relationships/slideLayout" Target="../slideLayouts/slideLayout154.xml"/><Relationship Id="rId23" Type="http://schemas.openxmlformats.org/officeDocument/2006/relationships/slideLayout" Target="../slideLayouts/slideLayout162.xml"/><Relationship Id="rId28" Type="http://schemas.openxmlformats.org/officeDocument/2006/relationships/slideLayout" Target="../slideLayouts/slideLayout167.xml"/><Relationship Id="rId36" Type="http://schemas.openxmlformats.org/officeDocument/2006/relationships/slideLayout" Target="../slideLayouts/slideLayout175.xml"/><Relationship Id="rId49" Type="http://schemas.openxmlformats.org/officeDocument/2006/relationships/slideLayout" Target="../slideLayouts/slideLayout188.xml"/><Relationship Id="rId10" Type="http://schemas.openxmlformats.org/officeDocument/2006/relationships/slideLayout" Target="../slideLayouts/slideLayout149.xml"/><Relationship Id="rId19" Type="http://schemas.openxmlformats.org/officeDocument/2006/relationships/slideLayout" Target="../slideLayouts/slideLayout158.xml"/><Relationship Id="rId31" Type="http://schemas.openxmlformats.org/officeDocument/2006/relationships/slideLayout" Target="../slideLayouts/slideLayout170.xml"/><Relationship Id="rId44" Type="http://schemas.openxmlformats.org/officeDocument/2006/relationships/slideLayout" Target="../slideLayouts/slideLayout183.xml"/><Relationship Id="rId52" Type="http://schemas.openxmlformats.org/officeDocument/2006/relationships/image" Target="../media/image14.svg"/><Relationship Id="rId4" Type="http://schemas.openxmlformats.org/officeDocument/2006/relationships/slideLayout" Target="../slideLayouts/slideLayout143.xml"/><Relationship Id="rId9" Type="http://schemas.openxmlformats.org/officeDocument/2006/relationships/slideLayout" Target="../slideLayouts/slideLayout148.xml"/><Relationship Id="rId14" Type="http://schemas.openxmlformats.org/officeDocument/2006/relationships/slideLayout" Target="../slideLayouts/slideLayout153.xml"/><Relationship Id="rId22" Type="http://schemas.openxmlformats.org/officeDocument/2006/relationships/slideLayout" Target="../slideLayouts/slideLayout161.xml"/><Relationship Id="rId27" Type="http://schemas.openxmlformats.org/officeDocument/2006/relationships/slideLayout" Target="../slideLayouts/slideLayout166.xml"/><Relationship Id="rId30" Type="http://schemas.openxmlformats.org/officeDocument/2006/relationships/slideLayout" Target="../slideLayouts/slideLayout169.xml"/><Relationship Id="rId35" Type="http://schemas.openxmlformats.org/officeDocument/2006/relationships/slideLayout" Target="../slideLayouts/slideLayout174.xml"/><Relationship Id="rId43" Type="http://schemas.openxmlformats.org/officeDocument/2006/relationships/slideLayout" Target="../slideLayouts/slideLayout182.xml"/><Relationship Id="rId48" Type="http://schemas.openxmlformats.org/officeDocument/2006/relationships/slideLayout" Target="../slideLayouts/slideLayout187.xml"/><Relationship Id="rId8" Type="http://schemas.openxmlformats.org/officeDocument/2006/relationships/slideLayout" Target="../slideLayouts/slideLayout147.xml"/><Relationship Id="rId51" Type="http://schemas.openxmlformats.org/officeDocument/2006/relationships/image" Target="../media/image1.png"/><Relationship Id="rId3" Type="http://schemas.openxmlformats.org/officeDocument/2006/relationships/slideLayout" Target="../slideLayouts/slideLayout142.xml"/><Relationship Id="rId12" Type="http://schemas.openxmlformats.org/officeDocument/2006/relationships/slideLayout" Target="../slideLayouts/slideLayout151.xml"/><Relationship Id="rId17" Type="http://schemas.openxmlformats.org/officeDocument/2006/relationships/slideLayout" Target="../slideLayouts/slideLayout156.xml"/><Relationship Id="rId25" Type="http://schemas.openxmlformats.org/officeDocument/2006/relationships/slideLayout" Target="../slideLayouts/slideLayout164.xml"/><Relationship Id="rId33" Type="http://schemas.openxmlformats.org/officeDocument/2006/relationships/slideLayout" Target="../slideLayouts/slideLayout172.xml"/><Relationship Id="rId38" Type="http://schemas.openxmlformats.org/officeDocument/2006/relationships/slideLayout" Target="../slideLayouts/slideLayout177.xml"/><Relationship Id="rId46" Type="http://schemas.openxmlformats.org/officeDocument/2006/relationships/slideLayout" Target="../slideLayouts/slideLayout185.xml"/><Relationship Id="rId20" Type="http://schemas.openxmlformats.org/officeDocument/2006/relationships/slideLayout" Target="../slideLayouts/slideLayout159.xml"/><Relationship Id="rId41" Type="http://schemas.openxmlformats.org/officeDocument/2006/relationships/slideLayout" Target="../slideLayouts/slideLayout180.xml"/><Relationship Id="rId1" Type="http://schemas.openxmlformats.org/officeDocument/2006/relationships/slideLayout" Target="../slideLayouts/slideLayout140.xml"/><Relationship Id="rId6" Type="http://schemas.openxmlformats.org/officeDocument/2006/relationships/slideLayout" Target="../slideLayouts/slideLayout14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68450DCA-9700-4C93-9CAA-A9FF31B0A6A3}"/>
              </a:ext>
            </a:extLst>
          </p:cNvPr>
          <p:cNvPicPr>
            <a:picLocks noChangeAspect="1"/>
          </p:cNvPicPr>
          <p:nvPr userDrawn="1"/>
        </p:nvPicPr>
        <p:blipFill>
          <a:blip r:embed="rId42">
            <a:extLs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-1" y="6766560"/>
            <a:ext cx="12188825" cy="95225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9809" y="412751"/>
            <a:ext cx="11001004" cy="38100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1600203"/>
            <a:ext cx="10969943" cy="458046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A6C16E6-5A1F-46F7-8642-A7F025A5BD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7013" y="735203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586C86-F823-4766-9B10-773EDC51CC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09013" y="7352030"/>
            <a:ext cx="2741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D295A3-96FB-4E80-91AF-4225D266C57B}" type="slidenum">
              <a:rPr lang="en-US" smtClean="0"/>
              <a:t>‹#›</a:t>
            </a:fld>
            <a:endParaRPr lang="en-US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485A9D7-B248-4F26-9897-A1C7A54FAF89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3813DC77-8C0C-44B4-AE3B-61F5A80140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28" name="Freeform 7">
              <a:extLst>
                <a:ext uri="{FF2B5EF4-FFF2-40B4-BE49-F238E27FC236}">
                  <a16:creationId xmlns:a16="http://schemas.microsoft.com/office/drawing/2014/main" id="{4D7DC1A2-819A-4366-8BE9-387CC00090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0373EF47-4DA1-4EF4-AE4F-54BCB38FC2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ABC15050-D5E4-4FBD-806D-1CEC1AF606F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31" name="Freeform 10">
              <a:extLst>
                <a:ext uri="{FF2B5EF4-FFF2-40B4-BE49-F238E27FC236}">
                  <a16:creationId xmlns:a16="http://schemas.microsoft.com/office/drawing/2014/main" id="{953BA047-B60F-46CD-AFCB-49101F4D74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32" name="Freeform 11">
              <a:extLst>
                <a:ext uri="{FF2B5EF4-FFF2-40B4-BE49-F238E27FC236}">
                  <a16:creationId xmlns:a16="http://schemas.microsoft.com/office/drawing/2014/main" id="{E5E07D7E-E36B-4549-9FB3-3BA1E225948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33" name="Freeform 12">
              <a:extLst>
                <a:ext uri="{FF2B5EF4-FFF2-40B4-BE49-F238E27FC236}">
                  <a16:creationId xmlns:a16="http://schemas.microsoft.com/office/drawing/2014/main" id="{3352F97F-F3A2-4B3E-9917-55B62713FDC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20A2C43B-3928-4C21-81F0-0AA332C8F322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</p:spTree>
    <p:extLst>
      <p:ext uri="{BB962C8B-B14F-4D97-AF65-F5344CB8AC3E}">
        <p14:creationId xmlns:p14="http://schemas.microsoft.com/office/powerpoint/2010/main" val="9281408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8" r:id="rId1"/>
    <p:sldLayoutId id="2147483939" r:id="rId2"/>
    <p:sldLayoutId id="2147483940" r:id="rId3"/>
    <p:sldLayoutId id="2147483941" r:id="rId4"/>
    <p:sldLayoutId id="2147483942" r:id="rId5"/>
    <p:sldLayoutId id="2147483943" r:id="rId6"/>
    <p:sldLayoutId id="2147483944" r:id="rId7"/>
    <p:sldLayoutId id="2147483949" r:id="rId8"/>
    <p:sldLayoutId id="2147483990" r:id="rId9"/>
    <p:sldLayoutId id="2147483991" r:id="rId10"/>
    <p:sldLayoutId id="2147483956" r:id="rId11"/>
    <p:sldLayoutId id="2147483957" r:id="rId12"/>
    <p:sldLayoutId id="2147483958" r:id="rId13"/>
    <p:sldLayoutId id="2147483959" r:id="rId14"/>
    <p:sldLayoutId id="2147483960" r:id="rId15"/>
    <p:sldLayoutId id="2147483961" r:id="rId16"/>
    <p:sldLayoutId id="2147483962" r:id="rId17"/>
    <p:sldLayoutId id="2147483963" r:id="rId18"/>
    <p:sldLayoutId id="2147483964" r:id="rId19"/>
    <p:sldLayoutId id="2147483965" r:id="rId20"/>
    <p:sldLayoutId id="2147483966" r:id="rId21"/>
    <p:sldLayoutId id="2147483968" r:id="rId22"/>
    <p:sldLayoutId id="2147483969" r:id="rId23"/>
    <p:sldLayoutId id="2147483970" r:id="rId24"/>
    <p:sldLayoutId id="2147483971" r:id="rId25"/>
    <p:sldLayoutId id="2147483972" r:id="rId26"/>
    <p:sldLayoutId id="2147483973" r:id="rId27"/>
    <p:sldLayoutId id="2147483974" r:id="rId28"/>
    <p:sldLayoutId id="2147483975" r:id="rId29"/>
    <p:sldLayoutId id="2147483976" r:id="rId30"/>
    <p:sldLayoutId id="2147483977" r:id="rId31"/>
    <p:sldLayoutId id="2147483978" r:id="rId32"/>
    <p:sldLayoutId id="2147483979" r:id="rId33"/>
    <p:sldLayoutId id="2147483980" r:id="rId34"/>
    <p:sldLayoutId id="2147483981" r:id="rId35"/>
    <p:sldLayoutId id="2147483982" r:id="rId36"/>
    <p:sldLayoutId id="2147483983" r:id="rId37"/>
    <p:sldLayoutId id="2147483984" r:id="rId38"/>
    <p:sldLayoutId id="2147483985" r:id="rId39"/>
    <p:sldLayoutId id="2147484145" r:id="rId4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8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​"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457200" indent="-184150" algn="l" defTabSz="914400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SzPct val="90000"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744538" indent="-169863" algn="l" defTabSz="91440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tx2"/>
        </a:buClr>
        <a:buSzPct val="90000"/>
        <a:buFont typeface="Camphor Std" panose="020B0504030404020204" pitchFamily="34" charset="0"/>
        <a:buChar char="–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969963" indent="-166688" algn="l" defTabSz="914400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SzPct val="90000"/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1143000" indent="-138113" algn="l" defTabSz="914400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SzPct val="90000"/>
        <a:buFont typeface="Camphor Std" panose="020B0504030404020204" pitchFamily="34" charset="0"/>
        <a:buChar char="–"/>
        <a:tabLst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28600" indent="-228600" algn="l" defTabSz="914400" rtl="0" eaLnBrk="1" latinLnBrk="0" hangingPunct="1">
        <a:lnSpc>
          <a:spcPct val="100000"/>
        </a:lnSpc>
        <a:spcBef>
          <a:spcPts val="1800"/>
        </a:spcBef>
        <a:buClr>
          <a:schemeClr val="tx2"/>
        </a:buClr>
        <a:buSzPct val="90000"/>
        <a:buFont typeface="+mj-lt"/>
        <a:buAutoNum type="arabicPeriod"/>
        <a:defRPr sz="2000" kern="1200">
          <a:solidFill>
            <a:schemeClr val="tx2"/>
          </a:solidFill>
          <a:latin typeface="+mn-lt"/>
          <a:ea typeface="+mn-ea"/>
          <a:cs typeface="+mn-cs"/>
        </a:defRPr>
      </a:lvl6pPr>
      <a:lvl7pPr marL="512763" indent="-228600" algn="l" defTabSz="914400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SzPct val="90000"/>
        <a:buFont typeface="+mj-lt"/>
        <a:buAutoNum type="alphaLcPeriod"/>
        <a:defRPr sz="1600" kern="1200">
          <a:solidFill>
            <a:schemeClr val="tx2"/>
          </a:solidFill>
          <a:latin typeface="+mn-lt"/>
          <a:ea typeface="+mn-ea"/>
          <a:cs typeface="+mn-cs"/>
        </a:defRPr>
      </a:lvl7pPr>
      <a:lvl8pPr marL="741363" indent="-166688" algn="l" defTabSz="914400" rtl="0" eaLnBrk="1" latinLnBrk="0" hangingPunct="1">
        <a:lnSpc>
          <a:spcPct val="90000"/>
        </a:lnSpc>
        <a:spcBef>
          <a:spcPts val="600"/>
        </a:spcBef>
        <a:buClr>
          <a:schemeClr val="tx2"/>
        </a:buClr>
        <a:buSzPct val="90000"/>
        <a:buFont typeface="+mj-lt"/>
        <a:buAutoNum type="romanLcPeriod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284163" indent="-284163" algn="l" defTabSz="914400" rtl="0" eaLnBrk="1" latinLnBrk="0" hangingPunct="1">
        <a:lnSpc>
          <a:spcPct val="100000"/>
        </a:lnSpc>
        <a:spcBef>
          <a:spcPts val="1800"/>
        </a:spcBef>
        <a:buClr>
          <a:schemeClr val="tx2"/>
        </a:buClr>
        <a:buSzPct val="90000"/>
        <a:buFont typeface="+mj-lt"/>
        <a:buAutoNum type="alphaUcPeriod"/>
        <a:defRPr sz="20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39">
          <p15:clr>
            <a:srgbClr val="F26B43"/>
          </p15:clr>
        </p15:guide>
        <p15:guide id="3" orient="horz" pos="1872">
          <p15:clr>
            <a:srgbClr val="F26B43"/>
          </p15:clr>
        </p15:guide>
        <p15:guide id="4" orient="horz" pos="1584">
          <p15:clr>
            <a:srgbClr val="F26B43"/>
          </p15:clr>
        </p15:guide>
        <p15:guide id="5" orient="horz" pos="1296">
          <p15:clr>
            <a:srgbClr val="F26B43"/>
          </p15:clr>
        </p15:guide>
        <p15:guide id="6" orient="horz" pos="1008">
          <p15:clr>
            <a:srgbClr val="F26B43"/>
          </p15:clr>
        </p15:guide>
        <p15:guide id="7" orient="horz" pos="720">
          <p15:clr>
            <a:srgbClr val="F26B43"/>
          </p15:clr>
        </p15:guide>
        <p15:guide id="8" orient="horz" pos="576">
          <p15:clr>
            <a:srgbClr val="F26B43"/>
          </p15:clr>
        </p15:guide>
        <p15:guide id="9" orient="horz" pos="288">
          <p15:clr>
            <a:srgbClr val="F26B43"/>
          </p15:clr>
        </p15:guide>
        <p15:guide id="10" orient="horz">
          <p15:clr>
            <a:srgbClr val="F26B43"/>
          </p15:clr>
        </p15:guide>
        <p15:guide id="11" orient="horz" pos="2448">
          <p15:clr>
            <a:srgbClr val="F26B43"/>
          </p15:clr>
        </p15:guide>
        <p15:guide id="12" orient="horz" pos="2736">
          <p15:clr>
            <a:srgbClr val="F26B43"/>
          </p15:clr>
        </p15:guide>
        <p15:guide id="13" orient="horz" pos="3024">
          <p15:clr>
            <a:srgbClr val="F26B43"/>
          </p15:clr>
        </p15:guide>
        <p15:guide id="14" orient="horz" pos="3312">
          <p15:clr>
            <a:srgbClr val="F26B43"/>
          </p15:clr>
        </p15:guide>
        <p15:guide id="15" orient="horz" pos="3600">
          <p15:clr>
            <a:srgbClr val="F26B43"/>
          </p15:clr>
        </p15:guide>
        <p15:guide id="16" orient="horz" pos="3888">
          <p15:clr>
            <a:srgbClr val="F26B43"/>
          </p15:clr>
        </p15:guide>
        <p15:guide id="17" orient="horz" pos="4032">
          <p15:clr>
            <a:srgbClr val="F26B43"/>
          </p15:clr>
        </p15:guide>
        <p15:guide id="18" pos="3551">
          <p15:clr>
            <a:srgbClr val="F26B43"/>
          </p15:clr>
        </p15:guide>
        <p15:guide id="19" pos="3263">
          <p15:clr>
            <a:srgbClr val="F26B43"/>
          </p15:clr>
        </p15:guide>
        <p15:guide id="20" pos="2975">
          <p15:clr>
            <a:srgbClr val="F26B43"/>
          </p15:clr>
        </p15:guide>
        <p15:guide id="21" pos="2687">
          <p15:clr>
            <a:srgbClr val="F26B43"/>
          </p15:clr>
        </p15:guide>
        <p15:guide id="22" pos="2399">
          <p15:clr>
            <a:srgbClr val="F26B43"/>
          </p15:clr>
        </p15:guide>
        <p15:guide id="23" pos="2111">
          <p15:clr>
            <a:srgbClr val="F26B43"/>
          </p15:clr>
        </p15:guide>
        <p15:guide id="24" pos="1823">
          <p15:clr>
            <a:srgbClr val="F26B43"/>
          </p15:clr>
        </p15:guide>
        <p15:guide id="25" pos="1535">
          <p15:clr>
            <a:srgbClr val="F26B43"/>
          </p15:clr>
        </p15:guide>
        <p15:guide id="26" pos="1247">
          <p15:clr>
            <a:srgbClr val="F26B43"/>
          </p15:clr>
        </p15:guide>
        <p15:guide id="27" pos="959">
          <p15:clr>
            <a:srgbClr val="F26B43"/>
          </p15:clr>
        </p15:guide>
        <p15:guide id="28" pos="671">
          <p15:clr>
            <a:srgbClr val="F26B43"/>
          </p15:clr>
        </p15:guide>
        <p15:guide id="29" pos="383">
          <p15:clr>
            <a:srgbClr val="F26B43"/>
          </p15:clr>
        </p15:guide>
        <p15:guide id="30" pos="4127">
          <p15:clr>
            <a:srgbClr val="F26B43"/>
          </p15:clr>
        </p15:guide>
        <p15:guide id="31" pos="4415">
          <p15:clr>
            <a:srgbClr val="F26B43"/>
          </p15:clr>
        </p15:guide>
        <p15:guide id="32" pos="4703">
          <p15:clr>
            <a:srgbClr val="F26B43"/>
          </p15:clr>
        </p15:guide>
        <p15:guide id="33" pos="4991">
          <p15:clr>
            <a:srgbClr val="F26B43"/>
          </p15:clr>
        </p15:guide>
        <p15:guide id="34" pos="5279">
          <p15:clr>
            <a:srgbClr val="F26B43"/>
          </p15:clr>
        </p15:guide>
        <p15:guide id="35" pos="5567">
          <p15:clr>
            <a:srgbClr val="F26B43"/>
          </p15:clr>
        </p15:guide>
        <p15:guide id="36" pos="5855">
          <p15:clr>
            <a:srgbClr val="F26B43"/>
          </p15:clr>
        </p15:guide>
        <p15:guide id="37" pos="6143">
          <p15:clr>
            <a:srgbClr val="F26B43"/>
          </p15:clr>
        </p15:guide>
        <p15:guide id="38" pos="6431">
          <p15:clr>
            <a:srgbClr val="F26B43"/>
          </p15:clr>
        </p15:guide>
        <p15:guide id="39" pos="6719">
          <p15:clr>
            <a:srgbClr val="F26B43"/>
          </p15:clr>
        </p15:guide>
        <p15:guide id="40" pos="7007">
          <p15:clr>
            <a:srgbClr val="F26B43"/>
          </p15:clr>
        </p15:guide>
        <p15:guide id="41" pos="7295">
          <p15:clr>
            <a:srgbClr val="F26B43"/>
          </p15:clr>
        </p15:guide>
        <p15:guide id="42" pos="7678">
          <p15:clr>
            <a:srgbClr val="F26B43"/>
          </p15:clr>
        </p15:guide>
        <p15:guide id="43" orient="horz" pos="4320">
          <p15:clr>
            <a:srgbClr val="F26B43"/>
          </p15:clr>
        </p15:guide>
        <p15:guide id="4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68450DCA-9700-4C93-9CAA-A9FF31B0A6A3}"/>
              </a:ext>
            </a:extLst>
          </p:cNvPr>
          <p:cNvPicPr>
            <a:picLocks noChangeAspect="1"/>
          </p:cNvPicPr>
          <p:nvPr userDrawn="1"/>
        </p:nvPicPr>
        <p:blipFill>
          <a:blip r:embed="rId52">
            <a:extLst>
              <a:ext uri="{96DAC541-7B7A-43D3-8B79-37D633B846F1}">
                <asvg:svgBlip xmlns:asvg="http://schemas.microsoft.com/office/drawing/2016/SVG/main" r:embed="rId53"/>
              </a:ext>
            </a:extLst>
          </a:blip>
          <a:stretch>
            <a:fillRect/>
          </a:stretch>
        </p:blipFill>
        <p:spPr>
          <a:xfrm>
            <a:off x="-1" y="6766560"/>
            <a:ext cx="12188825" cy="95225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9809" y="412751"/>
            <a:ext cx="11001004" cy="38100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1600203"/>
            <a:ext cx="10969943" cy="458046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A6C16E6-5A1F-46F7-8642-A7F025A5BD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7013" y="735203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586C86-F823-4766-9B10-773EDC51CC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09013" y="7352030"/>
            <a:ext cx="2741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D295A3-96FB-4E80-91AF-4225D266C57B}" type="slidenum">
              <a:rPr lang="en-US" smtClean="0"/>
              <a:t>‹#›</a:t>
            </a:fld>
            <a:endParaRPr lang="en-US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485A9D7-B248-4F26-9897-A1C7A54FAF89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3813DC77-8C0C-44B4-AE3B-61F5A80140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28" name="Freeform 7">
              <a:extLst>
                <a:ext uri="{FF2B5EF4-FFF2-40B4-BE49-F238E27FC236}">
                  <a16:creationId xmlns:a16="http://schemas.microsoft.com/office/drawing/2014/main" id="{4D7DC1A2-819A-4366-8BE9-387CC00090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0373EF47-4DA1-4EF4-AE4F-54BCB38FC2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ABC15050-D5E4-4FBD-806D-1CEC1AF606F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31" name="Freeform 10">
              <a:extLst>
                <a:ext uri="{FF2B5EF4-FFF2-40B4-BE49-F238E27FC236}">
                  <a16:creationId xmlns:a16="http://schemas.microsoft.com/office/drawing/2014/main" id="{953BA047-B60F-46CD-AFCB-49101F4D74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32" name="Freeform 11">
              <a:extLst>
                <a:ext uri="{FF2B5EF4-FFF2-40B4-BE49-F238E27FC236}">
                  <a16:creationId xmlns:a16="http://schemas.microsoft.com/office/drawing/2014/main" id="{E5E07D7E-E36B-4549-9FB3-3BA1E225948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33" name="Freeform 12">
              <a:extLst>
                <a:ext uri="{FF2B5EF4-FFF2-40B4-BE49-F238E27FC236}">
                  <a16:creationId xmlns:a16="http://schemas.microsoft.com/office/drawing/2014/main" id="{3352F97F-F3A2-4B3E-9917-55B62713FDC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20A2C43B-3928-4C21-81F0-0AA332C8F322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</p:spTree>
    <p:extLst>
      <p:ext uri="{BB962C8B-B14F-4D97-AF65-F5344CB8AC3E}">
        <p14:creationId xmlns:p14="http://schemas.microsoft.com/office/powerpoint/2010/main" val="42327886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5" r:id="rId1"/>
    <p:sldLayoutId id="2147483996" r:id="rId2"/>
    <p:sldLayoutId id="2147483997" r:id="rId3"/>
    <p:sldLayoutId id="2147483998" r:id="rId4"/>
    <p:sldLayoutId id="2147483999" r:id="rId5"/>
    <p:sldLayoutId id="2147484000" r:id="rId6"/>
    <p:sldLayoutId id="2147484001" r:id="rId7"/>
    <p:sldLayoutId id="2147484002" r:id="rId8"/>
    <p:sldLayoutId id="2147484003" r:id="rId9"/>
    <p:sldLayoutId id="2147484004" r:id="rId10"/>
    <p:sldLayoutId id="2147484005" r:id="rId11"/>
    <p:sldLayoutId id="2147484006" r:id="rId12"/>
    <p:sldLayoutId id="2147484007" r:id="rId13"/>
    <p:sldLayoutId id="2147484008" r:id="rId14"/>
    <p:sldLayoutId id="2147484009" r:id="rId15"/>
    <p:sldLayoutId id="2147484010" r:id="rId16"/>
    <p:sldLayoutId id="2147484011" r:id="rId17"/>
    <p:sldLayoutId id="2147484012" r:id="rId18"/>
    <p:sldLayoutId id="2147484013" r:id="rId19"/>
    <p:sldLayoutId id="2147484014" r:id="rId20"/>
    <p:sldLayoutId id="2147484015" r:id="rId21"/>
    <p:sldLayoutId id="2147484016" r:id="rId22"/>
    <p:sldLayoutId id="2147484017" r:id="rId23"/>
    <p:sldLayoutId id="2147484018" r:id="rId24"/>
    <p:sldLayoutId id="2147484019" r:id="rId25"/>
    <p:sldLayoutId id="2147484020" r:id="rId26"/>
    <p:sldLayoutId id="2147484021" r:id="rId27"/>
    <p:sldLayoutId id="2147484022" r:id="rId28"/>
    <p:sldLayoutId id="2147484023" r:id="rId29"/>
    <p:sldLayoutId id="2147484024" r:id="rId30"/>
    <p:sldLayoutId id="2147484025" r:id="rId31"/>
    <p:sldLayoutId id="2147484026" r:id="rId32"/>
    <p:sldLayoutId id="2147484027" r:id="rId33"/>
    <p:sldLayoutId id="2147484028" r:id="rId34"/>
    <p:sldLayoutId id="2147484029" r:id="rId35"/>
    <p:sldLayoutId id="2147484030" r:id="rId36"/>
    <p:sldLayoutId id="2147484031" r:id="rId37"/>
    <p:sldLayoutId id="2147484032" r:id="rId38"/>
    <p:sldLayoutId id="2147484033" r:id="rId39"/>
    <p:sldLayoutId id="2147484034" r:id="rId40"/>
    <p:sldLayoutId id="2147484035" r:id="rId41"/>
    <p:sldLayoutId id="2147484036" r:id="rId42"/>
    <p:sldLayoutId id="2147484037" r:id="rId43"/>
    <p:sldLayoutId id="2147484038" r:id="rId44"/>
    <p:sldLayoutId id="2147484039" r:id="rId45"/>
    <p:sldLayoutId id="2147484040" r:id="rId46"/>
    <p:sldLayoutId id="2147484041" r:id="rId47"/>
    <p:sldLayoutId id="2147484042" r:id="rId48"/>
    <p:sldLayoutId id="2147484043" r:id="rId49"/>
    <p:sldLayoutId id="2147484044" r:id="rId5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8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​"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457200" indent="-184150" algn="l" defTabSz="914400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SzPct val="90000"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744538" indent="-169863" algn="l" defTabSz="91440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tx2"/>
        </a:buClr>
        <a:buSzPct val="90000"/>
        <a:buFont typeface="Camphor Std" panose="020B0504030404020204" pitchFamily="34" charset="0"/>
        <a:buChar char="–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969963" indent="-166688" algn="l" defTabSz="914400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SzPct val="90000"/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1143000" indent="-138113" algn="l" defTabSz="914400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SzPct val="90000"/>
        <a:buFont typeface="Camphor Std" panose="020B0504030404020204" pitchFamily="34" charset="0"/>
        <a:buChar char="–"/>
        <a:tabLst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28600" indent="-228600" algn="l" defTabSz="914400" rtl="0" eaLnBrk="1" latinLnBrk="0" hangingPunct="1">
        <a:lnSpc>
          <a:spcPct val="100000"/>
        </a:lnSpc>
        <a:spcBef>
          <a:spcPts val="1800"/>
        </a:spcBef>
        <a:buClr>
          <a:schemeClr val="tx2"/>
        </a:buClr>
        <a:buSzPct val="90000"/>
        <a:buFont typeface="+mj-lt"/>
        <a:buAutoNum type="arabicPeriod"/>
        <a:defRPr sz="2000" kern="1200">
          <a:solidFill>
            <a:schemeClr val="tx2"/>
          </a:solidFill>
          <a:latin typeface="+mn-lt"/>
          <a:ea typeface="+mn-ea"/>
          <a:cs typeface="+mn-cs"/>
        </a:defRPr>
      </a:lvl6pPr>
      <a:lvl7pPr marL="512763" indent="-228600" algn="l" defTabSz="914400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SzPct val="90000"/>
        <a:buFont typeface="+mj-lt"/>
        <a:buAutoNum type="alphaLcPeriod"/>
        <a:defRPr sz="1600" kern="1200">
          <a:solidFill>
            <a:schemeClr val="tx2"/>
          </a:solidFill>
          <a:latin typeface="+mn-lt"/>
          <a:ea typeface="+mn-ea"/>
          <a:cs typeface="+mn-cs"/>
        </a:defRPr>
      </a:lvl7pPr>
      <a:lvl8pPr marL="741363" indent="-166688" algn="l" defTabSz="914400" rtl="0" eaLnBrk="1" latinLnBrk="0" hangingPunct="1">
        <a:lnSpc>
          <a:spcPct val="90000"/>
        </a:lnSpc>
        <a:spcBef>
          <a:spcPts val="600"/>
        </a:spcBef>
        <a:buClr>
          <a:schemeClr val="tx2"/>
        </a:buClr>
        <a:buSzPct val="90000"/>
        <a:buFont typeface="+mj-lt"/>
        <a:buAutoNum type="romanLcPeriod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284163" indent="-284163" algn="l" defTabSz="914400" rtl="0" eaLnBrk="1" latinLnBrk="0" hangingPunct="1">
        <a:lnSpc>
          <a:spcPct val="100000"/>
        </a:lnSpc>
        <a:spcBef>
          <a:spcPts val="1800"/>
        </a:spcBef>
        <a:buClr>
          <a:schemeClr val="tx2"/>
        </a:buClr>
        <a:buSzPct val="90000"/>
        <a:buFont typeface="+mj-lt"/>
        <a:buAutoNum type="alphaUcPeriod"/>
        <a:defRPr sz="20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39">
          <p15:clr>
            <a:srgbClr val="F26B43"/>
          </p15:clr>
        </p15:guide>
        <p15:guide id="3" orient="horz" pos="1872">
          <p15:clr>
            <a:srgbClr val="F26B43"/>
          </p15:clr>
        </p15:guide>
        <p15:guide id="4" orient="horz" pos="1584">
          <p15:clr>
            <a:srgbClr val="F26B43"/>
          </p15:clr>
        </p15:guide>
        <p15:guide id="5" orient="horz" pos="1296">
          <p15:clr>
            <a:srgbClr val="F26B43"/>
          </p15:clr>
        </p15:guide>
        <p15:guide id="6" orient="horz" pos="1008">
          <p15:clr>
            <a:srgbClr val="F26B43"/>
          </p15:clr>
        </p15:guide>
        <p15:guide id="7" orient="horz" pos="720">
          <p15:clr>
            <a:srgbClr val="F26B43"/>
          </p15:clr>
        </p15:guide>
        <p15:guide id="8" orient="horz" pos="576">
          <p15:clr>
            <a:srgbClr val="F26B43"/>
          </p15:clr>
        </p15:guide>
        <p15:guide id="9" orient="horz" pos="288">
          <p15:clr>
            <a:srgbClr val="F26B43"/>
          </p15:clr>
        </p15:guide>
        <p15:guide id="10" orient="horz">
          <p15:clr>
            <a:srgbClr val="F26B43"/>
          </p15:clr>
        </p15:guide>
        <p15:guide id="11" orient="horz" pos="2448">
          <p15:clr>
            <a:srgbClr val="F26B43"/>
          </p15:clr>
        </p15:guide>
        <p15:guide id="12" orient="horz" pos="2736">
          <p15:clr>
            <a:srgbClr val="F26B43"/>
          </p15:clr>
        </p15:guide>
        <p15:guide id="13" orient="horz" pos="3024">
          <p15:clr>
            <a:srgbClr val="F26B43"/>
          </p15:clr>
        </p15:guide>
        <p15:guide id="14" orient="horz" pos="3312">
          <p15:clr>
            <a:srgbClr val="F26B43"/>
          </p15:clr>
        </p15:guide>
        <p15:guide id="15" orient="horz" pos="3600">
          <p15:clr>
            <a:srgbClr val="F26B43"/>
          </p15:clr>
        </p15:guide>
        <p15:guide id="16" orient="horz" pos="3888">
          <p15:clr>
            <a:srgbClr val="F26B43"/>
          </p15:clr>
        </p15:guide>
        <p15:guide id="17" orient="horz" pos="4032">
          <p15:clr>
            <a:srgbClr val="F26B43"/>
          </p15:clr>
        </p15:guide>
        <p15:guide id="18" pos="3551">
          <p15:clr>
            <a:srgbClr val="F26B43"/>
          </p15:clr>
        </p15:guide>
        <p15:guide id="19" pos="3263">
          <p15:clr>
            <a:srgbClr val="F26B43"/>
          </p15:clr>
        </p15:guide>
        <p15:guide id="20" pos="2975">
          <p15:clr>
            <a:srgbClr val="F26B43"/>
          </p15:clr>
        </p15:guide>
        <p15:guide id="21" pos="2687">
          <p15:clr>
            <a:srgbClr val="F26B43"/>
          </p15:clr>
        </p15:guide>
        <p15:guide id="22" pos="2399">
          <p15:clr>
            <a:srgbClr val="F26B43"/>
          </p15:clr>
        </p15:guide>
        <p15:guide id="23" pos="2111">
          <p15:clr>
            <a:srgbClr val="F26B43"/>
          </p15:clr>
        </p15:guide>
        <p15:guide id="24" pos="1823">
          <p15:clr>
            <a:srgbClr val="F26B43"/>
          </p15:clr>
        </p15:guide>
        <p15:guide id="25" pos="1535">
          <p15:clr>
            <a:srgbClr val="F26B43"/>
          </p15:clr>
        </p15:guide>
        <p15:guide id="26" pos="1247">
          <p15:clr>
            <a:srgbClr val="F26B43"/>
          </p15:clr>
        </p15:guide>
        <p15:guide id="27" pos="959">
          <p15:clr>
            <a:srgbClr val="F26B43"/>
          </p15:clr>
        </p15:guide>
        <p15:guide id="28" pos="671">
          <p15:clr>
            <a:srgbClr val="F26B43"/>
          </p15:clr>
        </p15:guide>
        <p15:guide id="29" pos="383">
          <p15:clr>
            <a:srgbClr val="F26B43"/>
          </p15:clr>
        </p15:guide>
        <p15:guide id="30" pos="4127">
          <p15:clr>
            <a:srgbClr val="F26B43"/>
          </p15:clr>
        </p15:guide>
        <p15:guide id="31" pos="4415">
          <p15:clr>
            <a:srgbClr val="F26B43"/>
          </p15:clr>
        </p15:guide>
        <p15:guide id="32" pos="4703">
          <p15:clr>
            <a:srgbClr val="F26B43"/>
          </p15:clr>
        </p15:guide>
        <p15:guide id="33" pos="4991">
          <p15:clr>
            <a:srgbClr val="F26B43"/>
          </p15:clr>
        </p15:guide>
        <p15:guide id="34" pos="5279">
          <p15:clr>
            <a:srgbClr val="F26B43"/>
          </p15:clr>
        </p15:guide>
        <p15:guide id="35" pos="5567">
          <p15:clr>
            <a:srgbClr val="F26B43"/>
          </p15:clr>
        </p15:guide>
        <p15:guide id="36" pos="5855">
          <p15:clr>
            <a:srgbClr val="F26B43"/>
          </p15:clr>
        </p15:guide>
        <p15:guide id="37" pos="6143">
          <p15:clr>
            <a:srgbClr val="F26B43"/>
          </p15:clr>
        </p15:guide>
        <p15:guide id="38" pos="6431">
          <p15:clr>
            <a:srgbClr val="F26B43"/>
          </p15:clr>
        </p15:guide>
        <p15:guide id="39" pos="6719">
          <p15:clr>
            <a:srgbClr val="F26B43"/>
          </p15:clr>
        </p15:guide>
        <p15:guide id="40" pos="7007">
          <p15:clr>
            <a:srgbClr val="F26B43"/>
          </p15:clr>
        </p15:guide>
        <p15:guide id="41" pos="7295">
          <p15:clr>
            <a:srgbClr val="F26B43"/>
          </p15:clr>
        </p15:guide>
        <p15:guide id="42" pos="7678">
          <p15:clr>
            <a:srgbClr val="F26B43"/>
          </p15:clr>
        </p15:guide>
        <p15:guide id="43" orient="horz" pos="4320">
          <p15:clr>
            <a:srgbClr val="F26B43"/>
          </p15:clr>
        </p15:guide>
        <p15:guide id="4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68450DCA-9700-4C93-9CAA-A9FF31B0A6A3}"/>
              </a:ext>
            </a:extLst>
          </p:cNvPr>
          <p:cNvPicPr>
            <a:picLocks noChangeAspect="1"/>
          </p:cNvPicPr>
          <p:nvPr userDrawn="1"/>
        </p:nvPicPr>
        <p:blipFill>
          <a:blip r:embed="rId51">
            <a:extLst>
              <a:ext uri="{96DAC541-7B7A-43D3-8B79-37D633B846F1}">
                <asvg:svgBlip xmlns:asvg="http://schemas.microsoft.com/office/drawing/2016/SVG/main" r:embed="rId52"/>
              </a:ext>
            </a:extLst>
          </a:blip>
          <a:stretch>
            <a:fillRect/>
          </a:stretch>
        </p:blipFill>
        <p:spPr>
          <a:xfrm>
            <a:off x="-1" y="6766562"/>
            <a:ext cx="12188825" cy="95225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9809" y="412751"/>
            <a:ext cx="11001004" cy="38100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2" y="1600203"/>
            <a:ext cx="10969943" cy="458046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A6C16E6-5A1F-46F7-8642-A7F025A5BD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7013" y="735203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586C86-F823-4766-9B10-773EDC51CC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09013" y="7352032"/>
            <a:ext cx="2741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D295A3-96FB-4E80-91AF-4225D266C57B}" type="slidenum">
              <a:rPr lang="en-US" smtClean="0"/>
              <a:t>‹#›</a:t>
            </a:fld>
            <a:endParaRPr lang="en-US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485A9D7-B248-4F26-9897-A1C7A54FAF89}"/>
              </a:ext>
            </a:extLst>
          </p:cNvPr>
          <p:cNvGrpSpPr/>
          <p:nvPr userDrawn="1"/>
        </p:nvGrpSpPr>
        <p:grpSpPr>
          <a:xfrm>
            <a:off x="608013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3813DC77-8C0C-44B4-AE3B-61F5A80140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 dirty="0"/>
            </a:p>
          </p:txBody>
        </p:sp>
        <p:sp>
          <p:nvSpPr>
            <p:cNvPr id="28" name="Freeform 7">
              <a:extLst>
                <a:ext uri="{FF2B5EF4-FFF2-40B4-BE49-F238E27FC236}">
                  <a16:creationId xmlns:a16="http://schemas.microsoft.com/office/drawing/2014/main" id="{4D7DC1A2-819A-4366-8BE9-387CC00090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 dirty="0"/>
            </a:p>
          </p:txBody>
        </p:sp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0373EF47-4DA1-4EF4-AE4F-54BCB38FC2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 dirty="0"/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ABC15050-D5E4-4FBD-806D-1CEC1AF606F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 dirty="0"/>
            </a:p>
          </p:txBody>
        </p:sp>
        <p:sp>
          <p:nvSpPr>
            <p:cNvPr id="31" name="Freeform 10">
              <a:extLst>
                <a:ext uri="{FF2B5EF4-FFF2-40B4-BE49-F238E27FC236}">
                  <a16:creationId xmlns:a16="http://schemas.microsoft.com/office/drawing/2014/main" id="{953BA047-B60F-46CD-AFCB-49101F4D74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 dirty="0"/>
            </a:p>
          </p:txBody>
        </p:sp>
        <p:sp>
          <p:nvSpPr>
            <p:cNvPr id="32" name="Freeform 11">
              <a:extLst>
                <a:ext uri="{FF2B5EF4-FFF2-40B4-BE49-F238E27FC236}">
                  <a16:creationId xmlns:a16="http://schemas.microsoft.com/office/drawing/2014/main" id="{E5E07D7E-E36B-4549-9FB3-3BA1E225948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 dirty="0"/>
            </a:p>
          </p:txBody>
        </p:sp>
        <p:sp>
          <p:nvSpPr>
            <p:cNvPr id="33" name="Freeform 12">
              <a:extLst>
                <a:ext uri="{FF2B5EF4-FFF2-40B4-BE49-F238E27FC236}">
                  <a16:creationId xmlns:a16="http://schemas.microsoft.com/office/drawing/2014/main" id="{3352F97F-F3A2-4B3E-9917-55B62713FDC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799" baseline="0" dirty="0"/>
            </a:p>
          </p:txBody>
        </p: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20A2C43B-3928-4C21-81F0-0AA332C8F322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</p:spTree>
    <p:extLst>
      <p:ext uri="{BB962C8B-B14F-4D97-AF65-F5344CB8AC3E}">
        <p14:creationId xmlns:p14="http://schemas.microsoft.com/office/powerpoint/2010/main" val="4117385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6" r:id="rId1"/>
    <p:sldLayoutId id="2147484047" r:id="rId2"/>
    <p:sldLayoutId id="2147484048" r:id="rId3"/>
    <p:sldLayoutId id="2147484049" r:id="rId4"/>
    <p:sldLayoutId id="2147484050" r:id="rId5"/>
    <p:sldLayoutId id="2147484051" r:id="rId6"/>
    <p:sldLayoutId id="2147484052" r:id="rId7"/>
    <p:sldLayoutId id="2147484053" r:id="rId8"/>
    <p:sldLayoutId id="2147484054" r:id="rId9"/>
    <p:sldLayoutId id="2147484055" r:id="rId10"/>
    <p:sldLayoutId id="2147484056" r:id="rId11"/>
    <p:sldLayoutId id="2147484057" r:id="rId12"/>
    <p:sldLayoutId id="2147484058" r:id="rId13"/>
    <p:sldLayoutId id="2147484059" r:id="rId14"/>
    <p:sldLayoutId id="2147484060" r:id="rId15"/>
    <p:sldLayoutId id="2147484061" r:id="rId16"/>
    <p:sldLayoutId id="2147484062" r:id="rId17"/>
    <p:sldLayoutId id="2147484063" r:id="rId18"/>
    <p:sldLayoutId id="2147484064" r:id="rId19"/>
    <p:sldLayoutId id="2147484065" r:id="rId20"/>
    <p:sldLayoutId id="2147484066" r:id="rId21"/>
    <p:sldLayoutId id="2147484067" r:id="rId22"/>
    <p:sldLayoutId id="2147484068" r:id="rId23"/>
    <p:sldLayoutId id="2147484069" r:id="rId24"/>
    <p:sldLayoutId id="2147484070" r:id="rId25"/>
    <p:sldLayoutId id="2147484071" r:id="rId26"/>
    <p:sldLayoutId id="2147484072" r:id="rId27"/>
    <p:sldLayoutId id="2147484073" r:id="rId28"/>
    <p:sldLayoutId id="2147484074" r:id="rId29"/>
    <p:sldLayoutId id="2147484075" r:id="rId30"/>
    <p:sldLayoutId id="2147484076" r:id="rId31"/>
    <p:sldLayoutId id="2147484077" r:id="rId32"/>
    <p:sldLayoutId id="2147484078" r:id="rId33"/>
    <p:sldLayoutId id="2147484079" r:id="rId34"/>
    <p:sldLayoutId id="2147484080" r:id="rId35"/>
    <p:sldLayoutId id="2147484081" r:id="rId36"/>
    <p:sldLayoutId id="2147484082" r:id="rId37"/>
    <p:sldLayoutId id="2147484083" r:id="rId38"/>
    <p:sldLayoutId id="2147484084" r:id="rId39"/>
    <p:sldLayoutId id="2147484085" r:id="rId40"/>
    <p:sldLayoutId id="2147484086" r:id="rId41"/>
    <p:sldLayoutId id="2147484087" r:id="rId42"/>
    <p:sldLayoutId id="2147484088" r:id="rId43"/>
    <p:sldLayoutId id="2147484089" r:id="rId44"/>
    <p:sldLayoutId id="2147484090" r:id="rId45"/>
    <p:sldLayoutId id="2147484091" r:id="rId46"/>
    <p:sldLayoutId id="2147484092" r:id="rId47"/>
    <p:sldLayoutId id="2147484093" r:id="rId48"/>
    <p:sldLayoutId id="2147484094" r:id="rId4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2799" b="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126" rtl="0" eaLnBrk="1" latinLnBrk="0" hangingPunct="1">
        <a:lnSpc>
          <a:spcPct val="100000"/>
        </a:lnSpc>
        <a:spcBef>
          <a:spcPts val="1799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​"/>
        <a:defRPr sz="1999" kern="1200">
          <a:solidFill>
            <a:schemeClr val="tx2"/>
          </a:solidFill>
          <a:latin typeface="+mn-lt"/>
          <a:ea typeface="+mn-ea"/>
          <a:cs typeface="+mn-cs"/>
        </a:defRPr>
      </a:lvl1pPr>
      <a:lvl2pPr marL="457063" indent="-184095" algn="l" defTabSz="914126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SzPct val="90000"/>
        <a:buFont typeface="Arial" panose="020B0604020202020204" pitchFamily="34" charset="0"/>
        <a:buChar char="•"/>
        <a:defRPr sz="1799" kern="1200">
          <a:solidFill>
            <a:schemeClr val="tx2"/>
          </a:solidFill>
          <a:latin typeface="+mn-lt"/>
          <a:ea typeface="+mn-ea"/>
          <a:cs typeface="+mn-cs"/>
        </a:defRPr>
      </a:lvl2pPr>
      <a:lvl3pPr marL="744315" indent="-169812" algn="l" defTabSz="914126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tx2"/>
        </a:buClr>
        <a:buSzPct val="90000"/>
        <a:buFont typeface="Camphor Std" panose="020B0504030404020204" pitchFamily="34" charset="0"/>
        <a:buChar char="–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969672" indent="-166638" algn="l" defTabSz="914126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SzPct val="90000"/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1142657" indent="-138072" algn="l" defTabSz="914126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SzPct val="90000"/>
        <a:buFont typeface="Camphor Std" panose="020B0504030404020204" pitchFamily="34" charset="0"/>
        <a:buChar char="–"/>
        <a:tabLst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28531" indent="-228531" algn="l" defTabSz="914126" rtl="0" eaLnBrk="1" latinLnBrk="0" hangingPunct="1">
        <a:lnSpc>
          <a:spcPct val="100000"/>
        </a:lnSpc>
        <a:spcBef>
          <a:spcPts val="1799"/>
        </a:spcBef>
        <a:buClr>
          <a:schemeClr val="tx2"/>
        </a:buClr>
        <a:buSzPct val="90000"/>
        <a:buFont typeface="+mj-lt"/>
        <a:buAutoNum type="arabicPeriod"/>
        <a:defRPr sz="1999" kern="1200">
          <a:solidFill>
            <a:schemeClr val="tx2"/>
          </a:solidFill>
          <a:latin typeface="+mn-lt"/>
          <a:ea typeface="+mn-ea"/>
          <a:cs typeface="+mn-cs"/>
        </a:defRPr>
      </a:lvl6pPr>
      <a:lvl7pPr marL="512609" indent="-228531" algn="l" defTabSz="914126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SzPct val="90000"/>
        <a:buFont typeface="+mj-lt"/>
        <a:buAutoNum type="alphaLcPeriod"/>
        <a:defRPr sz="1600" kern="1200">
          <a:solidFill>
            <a:schemeClr val="tx2"/>
          </a:solidFill>
          <a:latin typeface="+mn-lt"/>
          <a:ea typeface="+mn-ea"/>
          <a:cs typeface="+mn-cs"/>
        </a:defRPr>
      </a:lvl7pPr>
      <a:lvl8pPr marL="741141" indent="-166638" algn="l" defTabSz="914126" rtl="0" eaLnBrk="1" latinLnBrk="0" hangingPunct="1">
        <a:lnSpc>
          <a:spcPct val="90000"/>
        </a:lnSpc>
        <a:spcBef>
          <a:spcPts val="600"/>
        </a:spcBef>
        <a:buClr>
          <a:schemeClr val="tx2"/>
        </a:buClr>
        <a:buSzPct val="90000"/>
        <a:buFont typeface="+mj-lt"/>
        <a:buAutoNum type="romanLcPeriod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284078" indent="-284078" algn="l" defTabSz="914126" rtl="0" eaLnBrk="1" latinLnBrk="0" hangingPunct="1">
        <a:lnSpc>
          <a:spcPct val="100000"/>
        </a:lnSpc>
        <a:spcBef>
          <a:spcPts val="1799"/>
        </a:spcBef>
        <a:buClr>
          <a:schemeClr val="tx2"/>
        </a:buClr>
        <a:buSzPct val="90000"/>
        <a:buFont typeface="+mj-lt"/>
        <a:buAutoNum type="alphaUcPeriod"/>
        <a:defRPr sz="1999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39">
          <p15:clr>
            <a:srgbClr val="F26B43"/>
          </p15:clr>
        </p15:guide>
        <p15:guide id="3" orient="horz" pos="1872">
          <p15:clr>
            <a:srgbClr val="F26B43"/>
          </p15:clr>
        </p15:guide>
        <p15:guide id="4" orient="horz" pos="1584">
          <p15:clr>
            <a:srgbClr val="F26B43"/>
          </p15:clr>
        </p15:guide>
        <p15:guide id="5" orient="horz" pos="1296">
          <p15:clr>
            <a:srgbClr val="F26B43"/>
          </p15:clr>
        </p15:guide>
        <p15:guide id="6" orient="horz" pos="1008">
          <p15:clr>
            <a:srgbClr val="F26B43"/>
          </p15:clr>
        </p15:guide>
        <p15:guide id="7" orient="horz" pos="720">
          <p15:clr>
            <a:srgbClr val="F26B43"/>
          </p15:clr>
        </p15:guide>
        <p15:guide id="8" orient="horz" pos="576">
          <p15:clr>
            <a:srgbClr val="F26B43"/>
          </p15:clr>
        </p15:guide>
        <p15:guide id="9" orient="horz" pos="288">
          <p15:clr>
            <a:srgbClr val="F26B43"/>
          </p15:clr>
        </p15:guide>
        <p15:guide id="10" orient="horz">
          <p15:clr>
            <a:srgbClr val="F26B43"/>
          </p15:clr>
        </p15:guide>
        <p15:guide id="11" orient="horz" pos="2448">
          <p15:clr>
            <a:srgbClr val="F26B43"/>
          </p15:clr>
        </p15:guide>
        <p15:guide id="12" orient="horz" pos="2736">
          <p15:clr>
            <a:srgbClr val="F26B43"/>
          </p15:clr>
        </p15:guide>
        <p15:guide id="13" orient="horz" pos="3024">
          <p15:clr>
            <a:srgbClr val="F26B43"/>
          </p15:clr>
        </p15:guide>
        <p15:guide id="14" orient="horz" pos="3312">
          <p15:clr>
            <a:srgbClr val="F26B43"/>
          </p15:clr>
        </p15:guide>
        <p15:guide id="15" orient="horz" pos="3600">
          <p15:clr>
            <a:srgbClr val="F26B43"/>
          </p15:clr>
        </p15:guide>
        <p15:guide id="16" orient="horz" pos="3888">
          <p15:clr>
            <a:srgbClr val="F26B43"/>
          </p15:clr>
        </p15:guide>
        <p15:guide id="17" orient="horz" pos="4032">
          <p15:clr>
            <a:srgbClr val="F26B43"/>
          </p15:clr>
        </p15:guide>
        <p15:guide id="18" pos="3551">
          <p15:clr>
            <a:srgbClr val="F26B43"/>
          </p15:clr>
        </p15:guide>
        <p15:guide id="19" pos="3263">
          <p15:clr>
            <a:srgbClr val="F26B43"/>
          </p15:clr>
        </p15:guide>
        <p15:guide id="20" pos="2975">
          <p15:clr>
            <a:srgbClr val="F26B43"/>
          </p15:clr>
        </p15:guide>
        <p15:guide id="21" pos="2687">
          <p15:clr>
            <a:srgbClr val="F26B43"/>
          </p15:clr>
        </p15:guide>
        <p15:guide id="22" pos="2399">
          <p15:clr>
            <a:srgbClr val="F26B43"/>
          </p15:clr>
        </p15:guide>
        <p15:guide id="23" pos="2111">
          <p15:clr>
            <a:srgbClr val="F26B43"/>
          </p15:clr>
        </p15:guide>
        <p15:guide id="24" pos="1823">
          <p15:clr>
            <a:srgbClr val="F26B43"/>
          </p15:clr>
        </p15:guide>
        <p15:guide id="25" pos="1535">
          <p15:clr>
            <a:srgbClr val="F26B43"/>
          </p15:clr>
        </p15:guide>
        <p15:guide id="26" pos="1247">
          <p15:clr>
            <a:srgbClr val="F26B43"/>
          </p15:clr>
        </p15:guide>
        <p15:guide id="27" pos="959">
          <p15:clr>
            <a:srgbClr val="F26B43"/>
          </p15:clr>
        </p15:guide>
        <p15:guide id="28" pos="671">
          <p15:clr>
            <a:srgbClr val="F26B43"/>
          </p15:clr>
        </p15:guide>
        <p15:guide id="29" pos="383">
          <p15:clr>
            <a:srgbClr val="F26B43"/>
          </p15:clr>
        </p15:guide>
        <p15:guide id="30" pos="4127">
          <p15:clr>
            <a:srgbClr val="F26B43"/>
          </p15:clr>
        </p15:guide>
        <p15:guide id="31" pos="4415">
          <p15:clr>
            <a:srgbClr val="F26B43"/>
          </p15:clr>
        </p15:guide>
        <p15:guide id="32" pos="4703">
          <p15:clr>
            <a:srgbClr val="F26B43"/>
          </p15:clr>
        </p15:guide>
        <p15:guide id="33" pos="4991">
          <p15:clr>
            <a:srgbClr val="F26B43"/>
          </p15:clr>
        </p15:guide>
        <p15:guide id="34" pos="5279">
          <p15:clr>
            <a:srgbClr val="F26B43"/>
          </p15:clr>
        </p15:guide>
        <p15:guide id="35" pos="5567">
          <p15:clr>
            <a:srgbClr val="F26B43"/>
          </p15:clr>
        </p15:guide>
        <p15:guide id="36" pos="5855">
          <p15:clr>
            <a:srgbClr val="F26B43"/>
          </p15:clr>
        </p15:guide>
        <p15:guide id="37" pos="6143">
          <p15:clr>
            <a:srgbClr val="F26B43"/>
          </p15:clr>
        </p15:guide>
        <p15:guide id="38" pos="6431">
          <p15:clr>
            <a:srgbClr val="F26B43"/>
          </p15:clr>
        </p15:guide>
        <p15:guide id="39" pos="6719">
          <p15:clr>
            <a:srgbClr val="F26B43"/>
          </p15:clr>
        </p15:guide>
        <p15:guide id="40" pos="7007">
          <p15:clr>
            <a:srgbClr val="F26B43"/>
          </p15:clr>
        </p15:guide>
        <p15:guide id="41" pos="7295">
          <p15:clr>
            <a:srgbClr val="F26B43"/>
          </p15:clr>
        </p15:guide>
        <p15:guide id="42" pos="7678">
          <p15:clr>
            <a:srgbClr val="F26B43"/>
          </p15:clr>
        </p15:guide>
        <p15:guide id="43" orient="horz" pos="4320">
          <p15:clr>
            <a:srgbClr val="F26B43"/>
          </p15:clr>
        </p15:guide>
        <p15:guide id="4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68450DCA-9700-4C93-9CAA-A9FF31B0A6A3}"/>
              </a:ext>
            </a:extLst>
          </p:cNvPr>
          <p:cNvPicPr>
            <a:picLocks noChangeAspect="1"/>
          </p:cNvPicPr>
          <p:nvPr userDrawn="1"/>
        </p:nvPicPr>
        <p:blipFill>
          <a:blip r:embed="rId51">
            <a:extLst>
              <a:ext uri="{96DAC541-7B7A-43D3-8B79-37D633B846F1}">
                <asvg:svgBlip xmlns:asvg="http://schemas.microsoft.com/office/drawing/2016/SVG/main" r:embed="rId52"/>
              </a:ext>
            </a:extLst>
          </a:blip>
          <a:stretch>
            <a:fillRect/>
          </a:stretch>
        </p:blipFill>
        <p:spPr>
          <a:xfrm>
            <a:off x="-1" y="6766560"/>
            <a:ext cx="12188825" cy="95225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9809" y="412751"/>
            <a:ext cx="11001004" cy="38100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1600203"/>
            <a:ext cx="10969943" cy="458046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A6C16E6-5A1F-46F7-8642-A7F025A5BD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7013" y="735203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586C86-F823-4766-9B10-773EDC51CC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09013" y="7352030"/>
            <a:ext cx="2741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D295A3-96FB-4E80-91AF-4225D266C57B}" type="slidenum">
              <a:rPr lang="en-US" smtClean="0"/>
              <a:t>‹#›</a:t>
            </a:fld>
            <a:endParaRPr lang="en-US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485A9D7-B248-4F26-9897-A1C7A54FAF89}"/>
              </a:ext>
            </a:extLst>
          </p:cNvPr>
          <p:cNvGrpSpPr/>
          <p:nvPr userDrawn="1"/>
        </p:nvGrpSpPr>
        <p:grpSpPr>
          <a:xfrm>
            <a:off x="608012" y="6445106"/>
            <a:ext cx="1184397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3813DC77-8C0C-44B4-AE3B-61F5A80140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28" name="Freeform 7">
              <a:extLst>
                <a:ext uri="{FF2B5EF4-FFF2-40B4-BE49-F238E27FC236}">
                  <a16:creationId xmlns:a16="http://schemas.microsoft.com/office/drawing/2014/main" id="{4D7DC1A2-819A-4366-8BE9-387CC00090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0373EF47-4DA1-4EF4-AE4F-54BCB38FC2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ABC15050-D5E4-4FBD-806D-1CEC1AF606F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31" name="Freeform 10">
              <a:extLst>
                <a:ext uri="{FF2B5EF4-FFF2-40B4-BE49-F238E27FC236}">
                  <a16:creationId xmlns:a16="http://schemas.microsoft.com/office/drawing/2014/main" id="{953BA047-B60F-46CD-AFCB-49101F4D74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32" name="Freeform 11">
              <a:extLst>
                <a:ext uri="{FF2B5EF4-FFF2-40B4-BE49-F238E27FC236}">
                  <a16:creationId xmlns:a16="http://schemas.microsoft.com/office/drawing/2014/main" id="{E5E07D7E-E36B-4549-9FB3-3BA1E225948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  <p:sp>
          <p:nvSpPr>
            <p:cNvPr id="33" name="Freeform 12">
              <a:extLst>
                <a:ext uri="{FF2B5EF4-FFF2-40B4-BE49-F238E27FC236}">
                  <a16:creationId xmlns:a16="http://schemas.microsoft.com/office/drawing/2014/main" id="{3352F97F-F3A2-4B3E-9917-55B62713FDC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aseline="0" dirty="0"/>
            </a:p>
          </p:txBody>
        </p: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20A2C43B-3928-4C21-81F0-0AA332C8F322}"/>
              </a:ext>
            </a:extLst>
          </p:cNvPr>
          <p:cNvSpPr txBox="1"/>
          <p:nvPr userDrawn="1"/>
        </p:nvSpPr>
        <p:spPr bwMode="white">
          <a:xfrm flipH="1">
            <a:off x="2073593" y="6506318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</p:spTree>
    <p:extLst>
      <p:ext uri="{BB962C8B-B14F-4D97-AF65-F5344CB8AC3E}">
        <p14:creationId xmlns:p14="http://schemas.microsoft.com/office/powerpoint/2010/main" val="34822883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6" r:id="rId1"/>
    <p:sldLayoutId id="2147484097" r:id="rId2"/>
    <p:sldLayoutId id="2147484098" r:id="rId3"/>
    <p:sldLayoutId id="2147484099" r:id="rId4"/>
    <p:sldLayoutId id="2147484100" r:id="rId5"/>
    <p:sldLayoutId id="2147484101" r:id="rId6"/>
    <p:sldLayoutId id="2147484102" r:id="rId7"/>
    <p:sldLayoutId id="2147484103" r:id="rId8"/>
    <p:sldLayoutId id="2147484104" r:id="rId9"/>
    <p:sldLayoutId id="2147484105" r:id="rId10"/>
    <p:sldLayoutId id="2147484106" r:id="rId11"/>
    <p:sldLayoutId id="2147484107" r:id="rId12"/>
    <p:sldLayoutId id="2147484108" r:id="rId13"/>
    <p:sldLayoutId id="2147484109" r:id="rId14"/>
    <p:sldLayoutId id="2147484110" r:id="rId15"/>
    <p:sldLayoutId id="2147484111" r:id="rId16"/>
    <p:sldLayoutId id="2147484112" r:id="rId17"/>
    <p:sldLayoutId id="2147484113" r:id="rId18"/>
    <p:sldLayoutId id="2147484114" r:id="rId19"/>
    <p:sldLayoutId id="2147484115" r:id="rId20"/>
    <p:sldLayoutId id="2147484116" r:id="rId21"/>
    <p:sldLayoutId id="2147484117" r:id="rId22"/>
    <p:sldLayoutId id="2147484118" r:id="rId23"/>
    <p:sldLayoutId id="2147484119" r:id="rId24"/>
    <p:sldLayoutId id="2147484120" r:id="rId25"/>
    <p:sldLayoutId id="2147484121" r:id="rId26"/>
    <p:sldLayoutId id="2147484122" r:id="rId27"/>
    <p:sldLayoutId id="2147484123" r:id="rId28"/>
    <p:sldLayoutId id="2147484124" r:id="rId29"/>
    <p:sldLayoutId id="2147484125" r:id="rId30"/>
    <p:sldLayoutId id="2147484126" r:id="rId31"/>
    <p:sldLayoutId id="2147484127" r:id="rId32"/>
    <p:sldLayoutId id="2147484128" r:id="rId33"/>
    <p:sldLayoutId id="2147484129" r:id="rId34"/>
    <p:sldLayoutId id="2147484130" r:id="rId35"/>
    <p:sldLayoutId id="2147484131" r:id="rId36"/>
    <p:sldLayoutId id="2147484132" r:id="rId37"/>
    <p:sldLayoutId id="2147484133" r:id="rId38"/>
    <p:sldLayoutId id="2147484134" r:id="rId39"/>
    <p:sldLayoutId id="2147484135" r:id="rId40"/>
    <p:sldLayoutId id="2147484136" r:id="rId41"/>
    <p:sldLayoutId id="2147484137" r:id="rId42"/>
    <p:sldLayoutId id="2147484138" r:id="rId43"/>
    <p:sldLayoutId id="2147484139" r:id="rId44"/>
    <p:sldLayoutId id="2147484140" r:id="rId45"/>
    <p:sldLayoutId id="2147484141" r:id="rId46"/>
    <p:sldLayoutId id="2147484142" r:id="rId47"/>
    <p:sldLayoutId id="2147484143" r:id="rId48"/>
    <p:sldLayoutId id="2147484144" r:id="rId4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8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​"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457200" indent="-184150" algn="l" defTabSz="914400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SzPct val="90000"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744538" indent="-169863" algn="l" defTabSz="91440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tx2"/>
        </a:buClr>
        <a:buSzPct val="90000"/>
        <a:buFont typeface="Camphor Std" panose="020B0504030404020204" pitchFamily="34" charset="0"/>
        <a:buChar char="–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969963" indent="-166688" algn="l" defTabSz="914400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SzPct val="90000"/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1143000" indent="-138113" algn="l" defTabSz="914400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SzPct val="90000"/>
        <a:buFont typeface="Camphor Std" panose="020B0504030404020204" pitchFamily="34" charset="0"/>
        <a:buChar char="–"/>
        <a:tabLst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28600" indent="-228600" algn="l" defTabSz="914400" rtl="0" eaLnBrk="1" latinLnBrk="0" hangingPunct="1">
        <a:lnSpc>
          <a:spcPct val="100000"/>
        </a:lnSpc>
        <a:spcBef>
          <a:spcPts val="1800"/>
        </a:spcBef>
        <a:buClr>
          <a:schemeClr val="tx2"/>
        </a:buClr>
        <a:buSzPct val="90000"/>
        <a:buFont typeface="+mj-lt"/>
        <a:buAutoNum type="arabicPeriod"/>
        <a:defRPr sz="2000" kern="1200">
          <a:solidFill>
            <a:schemeClr val="tx2"/>
          </a:solidFill>
          <a:latin typeface="+mn-lt"/>
          <a:ea typeface="+mn-ea"/>
          <a:cs typeface="+mn-cs"/>
        </a:defRPr>
      </a:lvl6pPr>
      <a:lvl7pPr marL="512763" indent="-228600" algn="l" defTabSz="914400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SzPct val="90000"/>
        <a:buFont typeface="+mj-lt"/>
        <a:buAutoNum type="alphaLcPeriod"/>
        <a:defRPr sz="1600" kern="1200">
          <a:solidFill>
            <a:schemeClr val="tx2"/>
          </a:solidFill>
          <a:latin typeface="+mn-lt"/>
          <a:ea typeface="+mn-ea"/>
          <a:cs typeface="+mn-cs"/>
        </a:defRPr>
      </a:lvl7pPr>
      <a:lvl8pPr marL="741363" indent="-166688" algn="l" defTabSz="914400" rtl="0" eaLnBrk="1" latinLnBrk="0" hangingPunct="1">
        <a:lnSpc>
          <a:spcPct val="90000"/>
        </a:lnSpc>
        <a:spcBef>
          <a:spcPts val="600"/>
        </a:spcBef>
        <a:buClr>
          <a:schemeClr val="tx2"/>
        </a:buClr>
        <a:buSzPct val="90000"/>
        <a:buFont typeface="+mj-lt"/>
        <a:buAutoNum type="romanLcPeriod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284163" indent="-284163" algn="l" defTabSz="914400" rtl="0" eaLnBrk="1" latinLnBrk="0" hangingPunct="1">
        <a:lnSpc>
          <a:spcPct val="100000"/>
        </a:lnSpc>
        <a:spcBef>
          <a:spcPts val="1800"/>
        </a:spcBef>
        <a:buClr>
          <a:schemeClr val="tx2"/>
        </a:buClr>
        <a:buSzPct val="90000"/>
        <a:buFont typeface="+mj-lt"/>
        <a:buAutoNum type="alphaUcPeriod"/>
        <a:defRPr sz="20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39">
          <p15:clr>
            <a:srgbClr val="F26B43"/>
          </p15:clr>
        </p15:guide>
        <p15:guide id="3" orient="horz" pos="1872">
          <p15:clr>
            <a:srgbClr val="F26B43"/>
          </p15:clr>
        </p15:guide>
        <p15:guide id="4" orient="horz" pos="1584">
          <p15:clr>
            <a:srgbClr val="F26B43"/>
          </p15:clr>
        </p15:guide>
        <p15:guide id="5" orient="horz" pos="1296">
          <p15:clr>
            <a:srgbClr val="F26B43"/>
          </p15:clr>
        </p15:guide>
        <p15:guide id="6" orient="horz" pos="1008">
          <p15:clr>
            <a:srgbClr val="F26B43"/>
          </p15:clr>
        </p15:guide>
        <p15:guide id="7" orient="horz" pos="720">
          <p15:clr>
            <a:srgbClr val="F26B43"/>
          </p15:clr>
        </p15:guide>
        <p15:guide id="8" orient="horz" pos="576">
          <p15:clr>
            <a:srgbClr val="F26B43"/>
          </p15:clr>
        </p15:guide>
        <p15:guide id="9" orient="horz" pos="288">
          <p15:clr>
            <a:srgbClr val="F26B43"/>
          </p15:clr>
        </p15:guide>
        <p15:guide id="10" orient="horz">
          <p15:clr>
            <a:srgbClr val="F26B43"/>
          </p15:clr>
        </p15:guide>
        <p15:guide id="11" orient="horz" pos="2448">
          <p15:clr>
            <a:srgbClr val="F26B43"/>
          </p15:clr>
        </p15:guide>
        <p15:guide id="12" orient="horz" pos="2736">
          <p15:clr>
            <a:srgbClr val="F26B43"/>
          </p15:clr>
        </p15:guide>
        <p15:guide id="13" orient="horz" pos="3024">
          <p15:clr>
            <a:srgbClr val="F26B43"/>
          </p15:clr>
        </p15:guide>
        <p15:guide id="14" orient="horz" pos="3312">
          <p15:clr>
            <a:srgbClr val="F26B43"/>
          </p15:clr>
        </p15:guide>
        <p15:guide id="15" orient="horz" pos="3600">
          <p15:clr>
            <a:srgbClr val="F26B43"/>
          </p15:clr>
        </p15:guide>
        <p15:guide id="16" orient="horz" pos="3888">
          <p15:clr>
            <a:srgbClr val="F26B43"/>
          </p15:clr>
        </p15:guide>
        <p15:guide id="17" orient="horz" pos="4032">
          <p15:clr>
            <a:srgbClr val="F26B43"/>
          </p15:clr>
        </p15:guide>
        <p15:guide id="18" pos="3551">
          <p15:clr>
            <a:srgbClr val="F26B43"/>
          </p15:clr>
        </p15:guide>
        <p15:guide id="19" pos="3263">
          <p15:clr>
            <a:srgbClr val="F26B43"/>
          </p15:clr>
        </p15:guide>
        <p15:guide id="20" pos="2975">
          <p15:clr>
            <a:srgbClr val="F26B43"/>
          </p15:clr>
        </p15:guide>
        <p15:guide id="21" pos="2687">
          <p15:clr>
            <a:srgbClr val="F26B43"/>
          </p15:clr>
        </p15:guide>
        <p15:guide id="22" pos="2399">
          <p15:clr>
            <a:srgbClr val="F26B43"/>
          </p15:clr>
        </p15:guide>
        <p15:guide id="23" pos="2111">
          <p15:clr>
            <a:srgbClr val="F26B43"/>
          </p15:clr>
        </p15:guide>
        <p15:guide id="24" pos="1823">
          <p15:clr>
            <a:srgbClr val="F26B43"/>
          </p15:clr>
        </p15:guide>
        <p15:guide id="25" pos="1535">
          <p15:clr>
            <a:srgbClr val="F26B43"/>
          </p15:clr>
        </p15:guide>
        <p15:guide id="26" pos="1247">
          <p15:clr>
            <a:srgbClr val="F26B43"/>
          </p15:clr>
        </p15:guide>
        <p15:guide id="27" pos="959">
          <p15:clr>
            <a:srgbClr val="F26B43"/>
          </p15:clr>
        </p15:guide>
        <p15:guide id="28" pos="671">
          <p15:clr>
            <a:srgbClr val="F26B43"/>
          </p15:clr>
        </p15:guide>
        <p15:guide id="29" pos="383">
          <p15:clr>
            <a:srgbClr val="F26B43"/>
          </p15:clr>
        </p15:guide>
        <p15:guide id="30" pos="4127">
          <p15:clr>
            <a:srgbClr val="F26B43"/>
          </p15:clr>
        </p15:guide>
        <p15:guide id="31" pos="4415">
          <p15:clr>
            <a:srgbClr val="F26B43"/>
          </p15:clr>
        </p15:guide>
        <p15:guide id="32" pos="4703">
          <p15:clr>
            <a:srgbClr val="F26B43"/>
          </p15:clr>
        </p15:guide>
        <p15:guide id="33" pos="4991">
          <p15:clr>
            <a:srgbClr val="F26B43"/>
          </p15:clr>
        </p15:guide>
        <p15:guide id="34" pos="5279">
          <p15:clr>
            <a:srgbClr val="F26B43"/>
          </p15:clr>
        </p15:guide>
        <p15:guide id="35" pos="5567">
          <p15:clr>
            <a:srgbClr val="F26B43"/>
          </p15:clr>
        </p15:guide>
        <p15:guide id="36" pos="5855">
          <p15:clr>
            <a:srgbClr val="F26B43"/>
          </p15:clr>
        </p15:guide>
        <p15:guide id="37" pos="6143">
          <p15:clr>
            <a:srgbClr val="F26B43"/>
          </p15:clr>
        </p15:guide>
        <p15:guide id="38" pos="6431">
          <p15:clr>
            <a:srgbClr val="F26B43"/>
          </p15:clr>
        </p15:guide>
        <p15:guide id="39" pos="6719">
          <p15:clr>
            <a:srgbClr val="F26B43"/>
          </p15:clr>
        </p15:guide>
        <p15:guide id="40" pos="7007">
          <p15:clr>
            <a:srgbClr val="F26B43"/>
          </p15:clr>
        </p15:guide>
        <p15:guide id="41" pos="7295">
          <p15:clr>
            <a:srgbClr val="F26B43"/>
          </p15:clr>
        </p15:guide>
        <p15:guide id="42" pos="7678">
          <p15:clr>
            <a:srgbClr val="F26B43"/>
          </p15:clr>
        </p15:guide>
        <p15:guide id="43" orient="horz" pos="4320">
          <p15:clr>
            <a:srgbClr val="F26B43"/>
          </p15:clr>
        </p15:guide>
        <p15:guide id="4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0.xml"/><Relationship Id="rId5" Type="http://schemas.openxmlformats.org/officeDocument/2006/relationships/image" Target="../media/image24.png"/><Relationship Id="rId4" Type="http://schemas.openxmlformats.org/officeDocument/2006/relationships/image" Target="../media/image22.tif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25.tiff"/><Relationship Id="rId7" Type="http://schemas.openxmlformats.org/officeDocument/2006/relationships/image" Target="../media/image29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8.png"/><Relationship Id="rId11" Type="http://schemas.openxmlformats.org/officeDocument/2006/relationships/image" Target="../media/image33.svg"/><Relationship Id="rId5" Type="http://schemas.openxmlformats.org/officeDocument/2006/relationships/image" Target="../media/image27.tiff"/><Relationship Id="rId10" Type="http://schemas.openxmlformats.org/officeDocument/2006/relationships/image" Target="../media/image32.png"/><Relationship Id="rId4" Type="http://schemas.openxmlformats.org/officeDocument/2006/relationships/image" Target="../media/image26.tiff"/><Relationship Id="rId9" Type="http://schemas.openxmlformats.org/officeDocument/2006/relationships/image" Target="../media/image31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svg"/><Relationship Id="rId13" Type="http://schemas.openxmlformats.org/officeDocument/2006/relationships/image" Target="../media/image44.png"/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12" Type="http://schemas.openxmlformats.org/officeDocument/2006/relationships/image" Target="../media/image43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7.svg"/><Relationship Id="rId11" Type="http://schemas.openxmlformats.org/officeDocument/2006/relationships/image" Target="../media/image42.png"/><Relationship Id="rId5" Type="http://schemas.openxmlformats.org/officeDocument/2006/relationships/image" Target="../media/image36.png"/><Relationship Id="rId10" Type="http://schemas.openxmlformats.org/officeDocument/2006/relationships/image" Target="../media/image41.svg"/><Relationship Id="rId4" Type="http://schemas.openxmlformats.org/officeDocument/2006/relationships/image" Target="../media/image35.svg"/><Relationship Id="rId9" Type="http://schemas.openxmlformats.org/officeDocument/2006/relationships/image" Target="../media/image40.png"/><Relationship Id="rId14" Type="http://schemas.openxmlformats.org/officeDocument/2006/relationships/image" Target="../media/image45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C942F4-4481-49D5-A1C7-C4E59A4F2F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92948" y="1098479"/>
            <a:ext cx="4295185" cy="1718539"/>
          </a:xfrm>
        </p:spPr>
        <p:txBody>
          <a:bodyPr>
            <a:noAutofit/>
          </a:bodyPr>
          <a:lstStyle/>
          <a:p>
            <a:r>
              <a:rPr lang="en-US" sz="3800" dirty="0"/>
              <a:t>VMware Tanzu Service Mesh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81943535-0676-DC4F-B1A4-72A55C282877}"/>
              </a:ext>
            </a:extLst>
          </p:cNvPr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r>
              <a:rPr lang="en-US"/>
              <a:t>Overview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3885C05E-1B8D-473F-AD11-9ED0A46D04C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March 2020</a:t>
            </a:r>
          </a:p>
        </p:txBody>
      </p:sp>
    </p:spTree>
    <p:extLst>
      <p:ext uri="{BB962C8B-B14F-4D97-AF65-F5344CB8AC3E}">
        <p14:creationId xmlns:p14="http://schemas.microsoft.com/office/powerpoint/2010/main" val="1475088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41">
            <a:extLst>
              <a:ext uri="{FF2B5EF4-FFF2-40B4-BE49-F238E27FC236}">
                <a16:creationId xmlns:a16="http://schemas.microsoft.com/office/drawing/2014/main" id="{D478BDF5-EDF6-4078-9F96-B72A1C37E5A4}"/>
              </a:ext>
            </a:extLst>
          </p:cNvPr>
          <p:cNvSpPr/>
          <p:nvPr/>
        </p:nvSpPr>
        <p:spPr>
          <a:xfrm>
            <a:off x="1" y="1087290"/>
            <a:ext cx="12188824" cy="5675459"/>
          </a:xfrm>
          <a:prstGeom prst="rect">
            <a:avLst/>
          </a:prstGeom>
          <a:solidFill>
            <a:schemeClr val="tx1">
              <a:lumMod val="20000"/>
              <a:lumOff val="80000"/>
              <a:alpha val="7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5E785DDC-59C4-FE42-A926-FE6F96E2277B}"/>
              </a:ext>
            </a:extLst>
          </p:cNvPr>
          <p:cNvSpPr/>
          <p:nvPr/>
        </p:nvSpPr>
        <p:spPr>
          <a:xfrm>
            <a:off x="977008" y="1772601"/>
            <a:ext cx="4660595" cy="3658091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  <a:effectLst>
            <a:outerShdw blurRad="127000" dist="63500" dir="2700000" algn="tl" rotWithShape="0">
              <a:prstClr val="black">
                <a:alpha val="2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37160" rIns="18288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400" dirty="0">
                <a:solidFill>
                  <a:schemeClr val="tx2"/>
                </a:solidFill>
              </a:rPr>
              <a:t> K8s  Pod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F211BAD-0260-D346-8AA9-46E9CCECA4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809" y="463215"/>
            <a:ext cx="11001004" cy="381000"/>
          </a:xfrm>
        </p:spPr>
        <p:txBody>
          <a:bodyPr/>
          <a:lstStyle/>
          <a:p>
            <a:pPr algn="ctr"/>
            <a:r>
              <a:rPr lang="en-US" dirty="0"/>
              <a:t>Microservices Before Service Mesh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F04138E-35A9-3C42-8B86-AB06F31533D3}"/>
              </a:ext>
            </a:extLst>
          </p:cNvPr>
          <p:cNvSpPr txBox="1"/>
          <p:nvPr/>
        </p:nvSpPr>
        <p:spPr>
          <a:xfrm>
            <a:off x="1128338" y="5619253"/>
            <a:ext cx="4357934" cy="430887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en-US" sz="1400" b="1" dirty="0">
                <a:solidFill>
                  <a:srgbClr val="3F3F3F"/>
                </a:solidFill>
                <a:latin typeface="Metropolis"/>
              </a:rPr>
              <a:t>Pre-service mesh with</a:t>
            </a:r>
            <a:br>
              <a:rPr lang="en-US" sz="1400" b="1" dirty="0">
                <a:solidFill>
                  <a:srgbClr val="3F3F3F"/>
                </a:solidFill>
                <a:latin typeface="Metropolis"/>
              </a:rPr>
            </a:br>
            <a:r>
              <a:rPr lang="en-US" sz="1400" b="1" dirty="0">
                <a:solidFill>
                  <a:srgbClr val="3F3F3F"/>
                </a:solidFill>
                <a:latin typeface="Metropolis"/>
              </a:rPr>
              <a:t>client libraries and app framework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E47F42C-152A-7646-A7E1-0E86E9292A4B}"/>
              </a:ext>
            </a:extLst>
          </p:cNvPr>
          <p:cNvSpPr/>
          <p:nvPr/>
        </p:nvSpPr>
        <p:spPr>
          <a:xfrm>
            <a:off x="1337723" y="2243616"/>
            <a:ext cx="3927192" cy="2955593"/>
          </a:xfrm>
          <a:prstGeom prst="rect">
            <a:avLst/>
          </a:prstGeom>
          <a:solidFill>
            <a:schemeClr val="accent4"/>
          </a:solidFill>
          <a:ln w="12700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bIns="91440" rtlCol="0" anchor="b"/>
          <a:lstStyle/>
          <a:p>
            <a:pPr algn="ctr"/>
            <a:r>
              <a:rPr lang="en-US" sz="1600" b="1" dirty="0"/>
              <a:t>    App Container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9F4DD02A-E503-CE44-84AF-EC78F32657F5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65000"/>
          </a:blip>
          <a:stretch>
            <a:fillRect/>
          </a:stretch>
        </p:blipFill>
        <p:spPr>
          <a:xfrm>
            <a:off x="5486273" y="5218951"/>
            <a:ext cx="276045" cy="276045"/>
          </a:xfrm>
          <a:prstGeom prst="rect">
            <a:avLst/>
          </a:prstGeom>
        </p:spPr>
      </p:pic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C5F341FE-7C4E-CA41-8A35-83607EB2B798}"/>
              </a:ext>
            </a:extLst>
          </p:cNvPr>
          <p:cNvSpPr/>
          <p:nvPr/>
        </p:nvSpPr>
        <p:spPr>
          <a:xfrm>
            <a:off x="1537731" y="3019709"/>
            <a:ext cx="3522689" cy="510496"/>
          </a:xfrm>
          <a:prstGeom prst="roundRect">
            <a:avLst>
              <a:gd name="adj" fmla="val 0"/>
            </a:avLst>
          </a:prstGeom>
          <a:solidFill>
            <a:schemeClr val="accent4">
              <a:lumMod val="75000"/>
            </a:schemeClr>
          </a:solidFill>
          <a:ln w="12700" cmpd="sng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Observability</a:t>
            </a:r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95C93E97-22BB-6A46-8C31-E4A377C0E4E5}"/>
              </a:ext>
            </a:extLst>
          </p:cNvPr>
          <p:cNvSpPr/>
          <p:nvPr/>
        </p:nvSpPr>
        <p:spPr>
          <a:xfrm>
            <a:off x="1537731" y="3621059"/>
            <a:ext cx="3522689" cy="510496"/>
          </a:xfrm>
          <a:prstGeom prst="roundRect">
            <a:avLst>
              <a:gd name="adj" fmla="val 0"/>
            </a:avLst>
          </a:prstGeom>
          <a:solidFill>
            <a:schemeClr val="accent4">
              <a:lumMod val="75000"/>
            </a:schemeClr>
          </a:solidFill>
          <a:ln w="12700" cmpd="sng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Connectivity</a:t>
            </a: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E1BDD3F7-B7B2-FB49-8E24-BAEB67F9F608}"/>
              </a:ext>
            </a:extLst>
          </p:cNvPr>
          <p:cNvSpPr/>
          <p:nvPr/>
        </p:nvSpPr>
        <p:spPr>
          <a:xfrm>
            <a:off x="1537731" y="2418359"/>
            <a:ext cx="3522689" cy="510496"/>
          </a:xfrm>
          <a:prstGeom prst="roundRect">
            <a:avLst>
              <a:gd name="adj" fmla="val 0"/>
            </a:avLst>
          </a:prstGeom>
          <a:solidFill>
            <a:schemeClr val="accent4">
              <a:lumMod val="75000"/>
            </a:schemeClr>
          </a:solidFill>
          <a:ln w="12700" cmpd="sng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Discovery</a:t>
            </a:r>
          </a:p>
        </p:txBody>
      </p:sp>
      <p:sp>
        <p:nvSpPr>
          <p:cNvPr id="34" name="Rounded Rectangle 33">
            <a:extLst>
              <a:ext uri="{FF2B5EF4-FFF2-40B4-BE49-F238E27FC236}">
                <a16:creationId xmlns:a16="http://schemas.microsoft.com/office/drawing/2014/main" id="{9A25ACC5-2C66-C24F-A814-62BFD54DB111}"/>
              </a:ext>
            </a:extLst>
          </p:cNvPr>
          <p:cNvSpPr/>
          <p:nvPr/>
        </p:nvSpPr>
        <p:spPr>
          <a:xfrm>
            <a:off x="1537731" y="4222408"/>
            <a:ext cx="3522689" cy="510496"/>
          </a:xfrm>
          <a:prstGeom prst="roundRect">
            <a:avLst>
              <a:gd name="adj" fmla="val 0"/>
            </a:avLst>
          </a:prstGeom>
          <a:solidFill>
            <a:schemeClr val="accent4">
              <a:lumMod val="75000"/>
            </a:schemeClr>
          </a:solidFill>
          <a:ln w="12700" cmpd="sng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Security</a:t>
            </a: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F50D0E94-736E-4F7E-86C2-6C324DC2538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99807" y="1215393"/>
            <a:ext cx="1414996" cy="474864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64E9C7B9-0968-4466-BA51-699E0659FCAD}"/>
              </a:ext>
            </a:extLst>
          </p:cNvPr>
          <p:cNvGrpSpPr/>
          <p:nvPr/>
        </p:nvGrpSpPr>
        <p:grpSpPr>
          <a:xfrm>
            <a:off x="6562306" y="1213820"/>
            <a:ext cx="4787533" cy="4836319"/>
            <a:chOff x="6562306" y="1213820"/>
            <a:chExt cx="4787533" cy="4836319"/>
          </a:xfrm>
        </p:grpSpPr>
        <p:sp>
          <p:nvSpPr>
            <p:cNvPr id="26" name="Rounded Rectangle 25">
              <a:extLst>
                <a:ext uri="{FF2B5EF4-FFF2-40B4-BE49-F238E27FC236}">
                  <a16:creationId xmlns:a16="http://schemas.microsoft.com/office/drawing/2014/main" id="{D5F7FF34-2E1A-9049-8094-5572A85ACC71}"/>
                </a:ext>
              </a:extLst>
            </p:cNvPr>
            <p:cNvSpPr/>
            <p:nvPr/>
          </p:nvSpPr>
          <p:spPr>
            <a:xfrm>
              <a:off x="6562306" y="1772601"/>
              <a:ext cx="4660595" cy="3658091"/>
            </a:xfrm>
            <a:prstGeom prst="roundRect">
              <a:avLst>
                <a:gd name="adj" fmla="val 0"/>
              </a:avLst>
            </a:prstGeom>
            <a:solidFill>
              <a:schemeClr val="bg1"/>
            </a:solidFill>
            <a:ln>
              <a:noFill/>
            </a:ln>
            <a:effectLst>
              <a:outerShdw blurRad="127000"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37160" rIns="18288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US" sz="1400" dirty="0">
                  <a:solidFill>
                    <a:schemeClr val="tx2"/>
                  </a:solidFill>
                </a:rPr>
                <a:t>  K8s Pod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9667E22-A2CC-CA4A-8F78-D61F35A9A5BD}"/>
                </a:ext>
              </a:extLst>
            </p:cNvPr>
            <p:cNvSpPr txBox="1"/>
            <p:nvPr/>
          </p:nvSpPr>
          <p:spPr>
            <a:xfrm>
              <a:off x="6898855" y="5619252"/>
              <a:ext cx="3987496" cy="430887"/>
            </a:xfrm>
            <a:prstGeom prst="rect">
              <a:avLst/>
            </a:prstGeom>
          </p:spPr>
          <p:txBody>
            <a:bodyPr wrap="square" lIns="0" tIns="0" rIns="0" bIns="0" rtlCol="0" anchor="b">
              <a:spAutoFit/>
            </a:bodyPr>
            <a:lstStyle/>
            <a:p>
              <a:pPr algn="ctr">
                <a:spcAft>
                  <a:spcPts val="600"/>
                </a:spcAft>
                <a:defRPr/>
              </a:pPr>
              <a:r>
                <a:rPr lang="en-US" sz="1400" b="1" dirty="0">
                  <a:solidFill>
                    <a:srgbClr val="3F3F3F"/>
                  </a:solidFill>
                  <a:latin typeface="Metropolis"/>
                </a:rPr>
                <a:t>Post- service</a:t>
              </a:r>
              <a:br>
                <a:rPr lang="en-US" sz="1400" b="1" dirty="0">
                  <a:solidFill>
                    <a:srgbClr val="3F3F3F"/>
                  </a:solidFill>
                  <a:latin typeface="Metropolis"/>
                </a:rPr>
              </a:br>
              <a:r>
                <a:rPr lang="en-US" sz="1400" b="1" dirty="0">
                  <a:solidFill>
                    <a:srgbClr val="3F3F3F"/>
                  </a:solidFill>
                  <a:latin typeface="Metropolis"/>
                </a:rPr>
                <a:t>meshes with sidecars</a:t>
              </a: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0567F863-48AF-8D40-80DA-6DF0BE9E79CD}"/>
                </a:ext>
              </a:extLst>
            </p:cNvPr>
            <p:cNvSpPr/>
            <p:nvPr/>
          </p:nvSpPr>
          <p:spPr>
            <a:xfrm>
              <a:off x="8745346" y="2243616"/>
              <a:ext cx="2096262" cy="2955593"/>
            </a:xfrm>
            <a:prstGeom prst="rect">
              <a:avLst/>
            </a:prstGeom>
            <a:solidFill>
              <a:schemeClr val="accent1"/>
            </a:solidFill>
            <a:ln w="12700" cmpd="sng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91440" rtlCol="0" anchor="b"/>
            <a:lstStyle/>
            <a:p>
              <a:pPr algn="ctr"/>
              <a:r>
                <a:rPr lang="en-US" sz="1600" b="1" dirty="0"/>
                <a:t>Sidecar Proxy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DB95C94C-1770-294C-9875-BF1874C84F77}"/>
                </a:ext>
              </a:extLst>
            </p:cNvPr>
            <p:cNvSpPr/>
            <p:nvPr/>
          </p:nvSpPr>
          <p:spPr>
            <a:xfrm>
              <a:off x="6898233" y="2243616"/>
              <a:ext cx="1335843" cy="2955593"/>
            </a:xfrm>
            <a:prstGeom prst="rect">
              <a:avLst/>
            </a:prstGeom>
            <a:solidFill>
              <a:schemeClr val="accent4"/>
            </a:solidFill>
            <a:ln w="12700" cmpd="sng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bIns="91440" rtlCol="0" anchor="ctr"/>
            <a:lstStyle/>
            <a:p>
              <a:pPr algn="ctr"/>
              <a:r>
                <a:rPr lang="en-US" sz="1600" b="1" dirty="0"/>
                <a:t>App Container</a:t>
              </a:r>
            </a:p>
          </p:txBody>
        </p:sp>
        <p:cxnSp>
          <p:nvCxnSpPr>
            <p:cNvPr id="40" name="Straight Arrow Connector 39">
              <a:extLst>
                <a:ext uri="{FF2B5EF4-FFF2-40B4-BE49-F238E27FC236}">
                  <a16:creationId xmlns:a16="http://schemas.microsoft.com/office/drawing/2014/main" id="{61AE7B43-1537-A940-9132-F428DD4A92F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251010" y="3615130"/>
              <a:ext cx="457200" cy="1"/>
            </a:xfrm>
            <a:prstGeom prst="straightConnector1">
              <a:avLst/>
            </a:prstGeom>
            <a:ln w="28575">
              <a:gradFill flip="none" rotWithShape="1">
                <a:gsLst>
                  <a:gs pos="0">
                    <a:schemeClr val="accent4"/>
                  </a:gs>
                  <a:gs pos="100000">
                    <a:schemeClr val="accent1">
                      <a:lumMod val="75000"/>
                    </a:schemeClr>
                  </a:gs>
                </a:gsLst>
                <a:lin ang="1200000" scaled="0"/>
                <a:tileRect/>
              </a:gra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258641AF-401A-E243-AE5A-34A2048963B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alphaModFix amt="65000"/>
            </a:blip>
            <a:stretch>
              <a:fillRect/>
            </a:stretch>
          </p:blipFill>
          <p:spPr>
            <a:xfrm>
              <a:off x="11073794" y="5229351"/>
              <a:ext cx="276045" cy="276045"/>
            </a:xfrm>
            <a:prstGeom prst="rect">
              <a:avLst/>
            </a:prstGeom>
          </p:spPr>
        </p:pic>
        <p:sp>
          <p:nvSpPr>
            <p:cNvPr id="141" name="Rounded Rectangle 28">
              <a:extLst>
                <a:ext uri="{FF2B5EF4-FFF2-40B4-BE49-F238E27FC236}">
                  <a16:creationId xmlns:a16="http://schemas.microsoft.com/office/drawing/2014/main" id="{09BD6DCA-13A7-4301-90F0-6C34C3E4393F}"/>
                </a:ext>
              </a:extLst>
            </p:cNvPr>
            <p:cNvSpPr/>
            <p:nvPr/>
          </p:nvSpPr>
          <p:spPr>
            <a:xfrm>
              <a:off x="8918687" y="3019708"/>
              <a:ext cx="1749579" cy="512064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75000"/>
              </a:schemeClr>
            </a:solidFill>
            <a:ln w="12700" cmpd="sng"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Observability</a:t>
              </a:r>
            </a:p>
          </p:txBody>
        </p:sp>
        <p:sp>
          <p:nvSpPr>
            <p:cNvPr id="142" name="Rounded Rectangle 29">
              <a:extLst>
                <a:ext uri="{FF2B5EF4-FFF2-40B4-BE49-F238E27FC236}">
                  <a16:creationId xmlns:a16="http://schemas.microsoft.com/office/drawing/2014/main" id="{E8FD9D65-BF73-4357-8369-A6EA60F86758}"/>
                </a:ext>
              </a:extLst>
            </p:cNvPr>
            <p:cNvSpPr/>
            <p:nvPr/>
          </p:nvSpPr>
          <p:spPr>
            <a:xfrm>
              <a:off x="8918687" y="3621058"/>
              <a:ext cx="1749579" cy="512064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75000"/>
              </a:schemeClr>
            </a:solidFill>
            <a:ln w="12700" cmpd="sng"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Connectivity</a:t>
              </a:r>
            </a:p>
          </p:txBody>
        </p:sp>
        <p:sp>
          <p:nvSpPr>
            <p:cNvPr id="144" name="Rounded Rectangle 24">
              <a:extLst>
                <a:ext uri="{FF2B5EF4-FFF2-40B4-BE49-F238E27FC236}">
                  <a16:creationId xmlns:a16="http://schemas.microsoft.com/office/drawing/2014/main" id="{4FFD59CF-9CDB-47FE-A977-FDA59FBAACBA}"/>
                </a:ext>
              </a:extLst>
            </p:cNvPr>
            <p:cNvSpPr/>
            <p:nvPr/>
          </p:nvSpPr>
          <p:spPr>
            <a:xfrm>
              <a:off x="8918687" y="2418358"/>
              <a:ext cx="1749579" cy="512064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75000"/>
              </a:schemeClr>
            </a:solidFill>
            <a:ln w="12700" cmpd="sng"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Discovery</a:t>
              </a:r>
            </a:p>
          </p:txBody>
        </p:sp>
        <p:sp>
          <p:nvSpPr>
            <p:cNvPr id="145" name="Rounded Rectangle 33">
              <a:extLst>
                <a:ext uri="{FF2B5EF4-FFF2-40B4-BE49-F238E27FC236}">
                  <a16:creationId xmlns:a16="http://schemas.microsoft.com/office/drawing/2014/main" id="{D0B62B80-1297-4EBC-AE23-C54A87418B84}"/>
                </a:ext>
              </a:extLst>
            </p:cNvPr>
            <p:cNvSpPr/>
            <p:nvPr/>
          </p:nvSpPr>
          <p:spPr>
            <a:xfrm>
              <a:off x="8918687" y="4222408"/>
              <a:ext cx="1749579" cy="512064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75000"/>
              </a:schemeClr>
            </a:solidFill>
            <a:ln w="12700" cmpd="sng"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Security</a:t>
              </a:r>
            </a:p>
          </p:txBody>
        </p:sp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7B355002-806B-434F-A382-FAA0ADCB10A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/>
            <a:stretch/>
          </p:blipFill>
          <p:spPr>
            <a:xfrm>
              <a:off x="8517677" y="1213820"/>
              <a:ext cx="749852" cy="348681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AFBBF938-617B-4DD5-B291-BDEBCCE42B53}"/>
              </a:ext>
            </a:extLst>
          </p:cNvPr>
          <p:cNvGrpSpPr/>
          <p:nvPr/>
        </p:nvGrpSpPr>
        <p:grpSpPr>
          <a:xfrm>
            <a:off x="-3443" y="6388099"/>
            <a:ext cx="12192265" cy="469901"/>
            <a:chOff x="-3443" y="6388099"/>
            <a:chExt cx="12192265" cy="469901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7CDD507B-CD40-4634-9762-DDD922F4FA17}"/>
                </a:ext>
              </a:extLst>
            </p:cNvPr>
            <p:cNvSpPr/>
            <p:nvPr/>
          </p:nvSpPr>
          <p:spPr bwMode="ltGray">
            <a:xfrm>
              <a:off x="-3443" y="6766560"/>
              <a:ext cx="12192265" cy="91440"/>
            </a:xfrm>
            <a:prstGeom prst="rect">
              <a:avLst/>
            </a:prstGeom>
            <a:gradFill flip="none" rotWithShape="1">
              <a:gsLst>
                <a:gs pos="0">
                  <a:srgbClr val="AADB1E"/>
                </a:gs>
                <a:gs pos="25000">
                  <a:schemeClr val="accent4"/>
                </a:gs>
                <a:gs pos="100000">
                  <a:srgbClr val="003D79"/>
                </a:gs>
                <a:gs pos="50000">
                  <a:schemeClr val="accent1"/>
                </a:gs>
                <a:gs pos="75000">
                  <a:schemeClr val="accent3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F495653-88BB-4E42-98D7-478818370E59}"/>
                </a:ext>
              </a:extLst>
            </p:cNvPr>
            <p:cNvGrpSpPr/>
            <p:nvPr/>
          </p:nvGrpSpPr>
          <p:grpSpPr>
            <a:xfrm>
              <a:off x="608012" y="6388099"/>
              <a:ext cx="11320919" cy="365125"/>
              <a:chOff x="608012" y="6388099"/>
              <a:chExt cx="11320919" cy="365125"/>
            </a:xfrm>
          </p:grpSpPr>
          <p:grpSp>
            <p:nvGrpSpPr>
              <p:cNvPr id="51" name="Group 50">
                <a:extLst>
                  <a:ext uri="{FF2B5EF4-FFF2-40B4-BE49-F238E27FC236}">
                    <a16:creationId xmlns:a16="http://schemas.microsoft.com/office/drawing/2014/main" id="{F50A0FF7-8342-4D62-ADC7-9CDF84BA55BF}"/>
                  </a:ext>
                </a:extLst>
              </p:cNvPr>
              <p:cNvGrpSpPr/>
              <p:nvPr/>
            </p:nvGrpSpPr>
            <p:grpSpPr>
              <a:xfrm>
                <a:off x="608012" y="6445106"/>
                <a:ext cx="1184397" cy="186690"/>
                <a:chOff x="863272" y="6563918"/>
                <a:chExt cx="861082" cy="135727"/>
              </a:xfrm>
              <a:solidFill>
                <a:schemeClr val="bg1"/>
              </a:solidFill>
            </p:grpSpPr>
            <p:sp>
              <p:nvSpPr>
                <p:cNvPr id="52" name="Freeform 6">
                  <a:extLst>
                    <a:ext uri="{FF2B5EF4-FFF2-40B4-BE49-F238E27FC236}">
                      <a16:creationId xmlns:a16="http://schemas.microsoft.com/office/drawing/2014/main" id="{FE856470-8C7F-45BC-81A7-4E3817BEA68C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1195963" y="6569284"/>
                  <a:ext cx="181812" cy="128783"/>
                </a:xfrm>
                <a:custGeom>
                  <a:avLst/>
                  <a:gdLst>
                    <a:gd name="T0" fmla="*/ 52 w 243"/>
                    <a:gd name="T1" fmla="*/ 159 h 170"/>
                    <a:gd name="T2" fmla="*/ 2 w 243"/>
                    <a:gd name="T3" fmla="*/ 19 h 170"/>
                    <a:gd name="T4" fmla="*/ 0 w 243"/>
                    <a:gd name="T5" fmla="*/ 12 h 170"/>
                    <a:gd name="T6" fmla="*/ 13 w 243"/>
                    <a:gd name="T7" fmla="*/ 0 h 170"/>
                    <a:gd name="T8" fmla="*/ 25 w 243"/>
                    <a:gd name="T9" fmla="*/ 11 h 170"/>
                    <a:gd name="T10" fmla="*/ 67 w 243"/>
                    <a:gd name="T11" fmla="*/ 131 h 170"/>
                    <a:gd name="T12" fmla="*/ 109 w 243"/>
                    <a:gd name="T13" fmla="*/ 10 h 170"/>
                    <a:gd name="T14" fmla="*/ 121 w 243"/>
                    <a:gd name="T15" fmla="*/ 0 h 170"/>
                    <a:gd name="T16" fmla="*/ 122 w 243"/>
                    <a:gd name="T17" fmla="*/ 0 h 170"/>
                    <a:gd name="T18" fmla="*/ 135 w 243"/>
                    <a:gd name="T19" fmla="*/ 10 h 170"/>
                    <a:gd name="T20" fmla="*/ 177 w 243"/>
                    <a:gd name="T21" fmla="*/ 131 h 170"/>
                    <a:gd name="T22" fmla="*/ 219 w 243"/>
                    <a:gd name="T23" fmla="*/ 10 h 170"/>
                    <a:gd name="T24" fmla="*/ 231 w 243"/>
                    <a:gd name="T25" fmla="*/ 0 h 170"/>
                    <a:gd name="T26" fmla="*/ 243 w 243"/>
                    <a:gd name="T27" fmla="*/ 12 h 170"/>
                    <a:gd name="T28" fmla="*/ 241 w 243"/>
                    <a:gd name="T29" fmla="*/ 19 h 170"/>
                    <a:gd name="T30" fmla="*/ 191 w 243"/>
                    <a:gd name="T31" fmla="*/ 159 h 170"/>
                    <a:gd name="T32" fmla="*/ 177 w 243"/>
                    <a:gd name="T33" fmla="*/ 170 h 170"/>
                    <a:gd name="T34" fmla="*/ 176 w 243"/>
                    <a:gd name="T35" fmla="*/ 170 h 170"/>
                    <a:gd name="T36" fmla="*/ 163 w 243"/>
                    <a:gd name="T37" fmla="*/ 159 h 170"/>
                    <a:gd name="T38" fmla="*/ 122 w 243"/>
                    <a:gd name="T39" fmla="*/ 40 h 170"/>
                    <a:gd name="T40" fmla="*/ 80 w 243"/>
                    <a:gd name="T41" fmla="*/ 159 h 170"/>
                    <a:gd name="T42" fmla="*/ 66 w 243"/>
                    <a:gd name="T43" fmla="*/ 170 h 170"/>
                    <a:gd name="T44" fmla="*/ 66 w 243"/>
                    <a:gd name="T45" fmla="*/ 170 h 170"/>
                    <a:gd name="T46" fmla="*/ 52 w 243"/>
                    <a:gd name="T47" fmla="*/ 159 h 1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243" h="170">
                      <a:moveTo>
                        <a:pt x="52" y="159"/>
                      </a:moveTo>
                      <a:cubicBezTo>
                        <a:pt x="2" y="19"/>
                        <a:pt x="2" y="19"/>
                        <a:pt x="2" y="19"/>
                      </a:cubicBezTo>
                      <a:cubicBezTo>
                        <a:pt x="1" y="17"/>
                        <a:pt x="0" y="14"/>
                        <a:pt x="0" y="12"/>
                      </a:cubicBezTo>
                      <a:cubicBezTo>
                        <a:pt x="0" y="6"/>
                        <a:pt x="5" y="0"/>
                        <a:pt x="13" y="0"/>
                      </a:cubicBezTo>
                      <a:cubicBezTo>
                        <a:pt x="19" y="0"/>
                        <a:pt x="23" y="4"/>
                        <a:pt x="25" y="1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109" y="10"/>
                        <a:pt x="109" y="10"/>
                        <a:pt x="109" y="10"/>
                      </a:cubicBezTo>
                      <a:cubicBezTo>
                        <a:pt x="111" y="4"/>
                        <a:pt x="114" y="0"/>
                        <a:pt x="121" y="0"/>
                      </a:cubicBezTo>
                      <a:cubicBezTo>
                        <a:pt x="122" y="0"/>
                        <a:pt x="122" y="0"/>
                        <a:pt x="122" y="0"/>
                      </a:cubicBezTo>
                      <a:cubicBezTo>
                        <a:pt x="129" y="0"/>
                        <a:pt x="133" y="4"/>
                        <a:pt x="135" y="10"/>
                      </a:cubicBezTo>
                      <a:cubicBezTo>
                        <a:pt x="177" y="131"/>
                        <a:pt x="177" y="131"/>
                        <a:pt x="177" y="131"/>
                      </a:cubicBezTo>
                      <a:cubicBezTo>
                        <a:pt x="219" y="10"/>
                        <a:pt x="219" y="10"/>
                        <a:pt x="219" y="10"/>
                      </a:cubicBezTo>
                      <a:cubicBezTo>
                        <a:pt x="221" y="5"/>
                        <a:pt x="224" y="0"/>
                        <a:pt x="231" y="0"/>
                      </a:cubicBezTo>
                      <a:cubicBezTo>
                        <a:pt x="238" y="0"/>
                        <a:pt x="243" y="6"/>
                        <a:pt x="243" y="12"/>
                      </a:cubicBezTo>
                      <a:cubicBezTo>
                        <a:pt x="243" y="14"/>
                        <a:pt x="242" y="17"/>
                        <a:pt x="241" y="19"/>
                      </a:cubicBezTo>
                      <a:cubicBezTo>
                        <a:pt x="191" y="159"/>
                        <a:pt x="191" y="159"/>
                        <a:pt x="191" y="159"/>
                      </a:cubicBezTo>
                      <a:cubicBezTo>
                        <a:pt x="188" y="166"/>
                        <a:pt x="183" y="170"/>
                        <a:pt x="177" y="170"/>
                      </a:cubicBezTo>
                      <a:cubicBezTo>
                        <a:pt x="176" y="170"/>
                        <a:pt x="176" y="170"/>
                        <a:pt x="176" y="170"/>
                      </a:cubicBezTo>
                      <a:cubicBezTo>
                        <a:pt x="170" y="170"/>
                        <a:pt x="165" y="166"/>
                        <a:pt x="163" y="159"/>
                      </a:cubicBezTo>
                      <a:cubicBezTo>
                        <a:pt x="122" y="40"/>
                        <a:pt x="122" y="40"/>
                        <a:pt x="122" y="40"/>
                      </a:cubicBezTo>
                      <a:cubicBezTo>
                        <a:pt x="80" y="159"/>
                        <a:pt x="80" y="159"/>
                        <a:pt x="80" y="159"/>
                      </a:cubicBezTo>
                      <a:cubicBezTo>
                        <a:pt x="78" y="166"/>
                        <a:pt x="73" y="170"/>
                        <a:pt x="66" y="170"/>
                      </a:cubicBezTo>
                      <a:cubicBezTo>
                        <a:pt x="66" y="170"/>
                        <a:pt x="66" y="170"/>
                        <a:pt x="66" y="170"/>
                      </a:cubicBezTo>
                      <a:cubicBezTo>
                        <a:pt x="60" y="170"/>
                        <a:pt x="55" y="166"/>
                        <a:pt x="52" y="159"/>
                      </a:cubicBezTo>
                    </a:path>
                  </a:pathLst>
                </a:custGeom>
                <a:solidFill>
                  <a:srgbClr val="717073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lvl="0"/>
                  <a:endParaRPr lang="en-US" baseline="0" dirty="0"/>
                </a:p>
              </p:txBody>
            </p:sp>
            <p:sp>
              <p:nvSpPr>
                <p:cNvPr id="53" name="Freeform 7">
                  <a:extLst>
                    <a:ext uri="{FF2B5EF4-FFF2-40B4-BE49-F238E27FC236}">
                      <a16:creationId xmlns:a16="http://schemas.microsoft.com/office/drawing/2014/main" id="{F6A17579-8199-4F14-8559-B2002FA84F49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1509084" y="6569284"/>
                  <a:ext cx="70389" cy="128783"/>
                </a:xfrm>
                <a:custGeom>
                  <a:avLst/>
                  <a:gdLst>
                    <a:gd name="T0" fmla="*/ 0 w 94"/>
                    <a:gd name="T1" fmla="*/ 13 h 170"/>
                    <a:gd name="T2" fmla="*/ 12 w 94"/>
                    <a:gd name="T3" fmla="*/ 0 h 170"/>
                    <a:gd name="T4" fmla="*/ 24 w 94"/>
                    <a:gd name="T5" fmla="*/ 13 h 170"/>
                    <a:gd name="T6" fmla="*/ 24 w 94"/>
                    <a:gd name="T7" fmla="*/ 41 h 170"/>
                    <a:gd name="T8" fmla="*/ 82 w 94"/>
                    <a:gd name="T9" fmla="*/ 0 h 170"/>
                    <a:gd name="T10" fmla="*/ 94 w 94"/>
                    <a:gd name="T11" fmla="*/ 13 h 170"/>
                    <a:gd name="T12" fmla="*/ 83 w 94"/>
                    <a:gd name="T13" fmla="*/ 25 h 170"/>
                    <a:gd name="T14" fmla="*/ 24 w 94"/>
                    <a:gd name="T15" fmla="*/ 101 h 170"/>
                    <a:gd name="T16" fmla="*/ 24 w 94"/>
                    <a:gd name="T17" fmla="*/ 157 h 170"/>
                    <a:gd name="T18" fmla="*/ 12 w 94"/>
                    <a:gd name="T19" fmla="*/ 170 h 170"/>
                    <a:gd name="T20" fmla="*/ 0 w 94"/>
                    <a:gd name="T21" fmla="*/ 157 h 170"/>
                    <a:gd name="T22" fmla="*/ 0 w 94"/>
                    <a:gd name="T23" fmla="*/ 13 h 1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94" h="170">
                      <a:moveTo>
                        <a:pt x="0" y="13"/>
                      </a:moveTo>
                      <a:cubicBezTo>
                        <a:pt x="0" y="6"/>
                        <a:pt x="5" y="0"/>
                        <a:pt x="12" y="0"/>
                      </a:cubicBezTo>
                      <a:cubicBezTo>
                        <a:pt x="19" y="0"/>
                        <a:pt x="24" y="5"/>
                        <a:pt x="24" y="13"/>
                      </a:cubicBezTo>
                      <a:cubicBezTo>
                        <a:pt x="24" y="41"/>
                        <a:pt x="24" y="41"/>
                        <a:pt x="24" y="41"/>
                      </a:cubicBezTo>
                      <a:cubicBezTo>
                        <a:pt x="37" y="13"/>
                        <a:pt x="64" y="0"/>
                        <a:pt x="82" y="0"/>
                      </a:cubicBezTo>
                      <a:cubicBezTo>
                        <a:pt x="89" y="0"/>
                        <a:pt x="94" y="6"/>
                        <a:pt x="94" y="13"/>
                      </a:cubicBezTo>
                      <a:cubicBezTo>
                        <a:pt x="94" y="20"/>
                        <a:pt x="89" y="24"/>
                        <a:pt x="83" y="25"/>
                      </a:cubicBezTo>
                      <a:cubicBezTo>
                        <a:pt x="51" y="29"/>
                        <a:pt x="24" y="53"/>
                        <a:pt x="24" y="101"/>
                      </a:cubicBezTo>
                      <a:cubicBezTo>
                        <a:pt x="24" y="157"/>
                        <a:pt x="24" y="157"/>
                        <a:pt x="24" y="157"/>
                      </a:cubicBezTo>
                      <a:cubicBezTo>
                        <a:pt x="24" y="164"/>
                        <a:pt x="19" y="170"/>
                        <a:pt x="12" y="170"/>
                      </a:cubicBezTo>
                      <a:cubicBezTo>
                        <a:pt x="5" y="170"/>
                        <a:pt x="0" y="164"/>
                        <a:pt x="0" y="157"/>
                      </a:cubicBezTo>
                      <a:lnTo>
                        <a:pt x="0" y="13"/>
                      </a:lnTo>
                      <a:close/>
                    </a:path>
                  </a:pathLst>
                </a:custGeom>
                <a:solidFill>
                  <a:srgbClr val="717073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lvl="0"/>
                  <a:endParaRPr lang="en-US" baseline="0" dirty="0"/>
                </a:p>
              </p:txBody>
            </p:sp>
            <p:sp>
              <p:nvSpPr>
                <p:cNvPr id="54" name="Freeform 8">
                  <a:extLst>
                    <a:ext uri="{FF2B5EF4-FFF2-40B4-BE49-F238E27FC236}">
                      <a16:creationId xmlns:a16="http://schemas.microsoft.com/office/drawing/2014/main" id="{B6CD269A-D8D8-4F68-8A1B-B8D3DA171297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1577894" y="6569284"/>
                  <a:ext cx="115211" cy="130361"/>
                </a:xfrm>
                <a:custGeom>
                  <a:avLst/>
                  <a:gdLst>
                    <a:gd name="T0" fmla="*/ 129 w 154"/>
                    <a:gd name="T1" fmla="*/ 76 h 172"/>
                    <a:gd name="T2" fmla="*/ 77 w 154"/>
                    <a:gd name="T3" fmla="*/ 21 h 172"/>
                    <a:gd name="T4" fmla="*/ 25 w 154"/>
                    <a:gd name="T5" fmla="*/ 76 h 172"/>
                    <a:gd name="T6" fmla="*/ 129 w 154"/>
                    <a:gd name="T7" fmla="*/ 76 h 172"/>
                    <a:gd name="T8" fmla="*/ 81 w 154"/>
                    <a:gd name="T9" fmla="*/ 172 h 172"/>
                    <a:gd name="T10" fmla="*/ 0 w 154"/>
                    <a:gd name="T11" fmla="*/ 86 h 172"/>
                    <a:gd name="T12" fmla="*/ 0 w 154"/>
                    <a:gd name="T13" fmla="*/ 85 h 172"/>
                    <a:gd name="T14" fmla="*/ 78 w 154"/>
                    <a:gd name="T15" fmla="*/ 0 h 172"/>
                    <a:gd name="T16" fmla="*/ 154 w 154"/>
                    <a:gd name="T17" fmla="*/ 83 h 172"/>
                    <a:gd name="T18" fmla="*/ 142 w 154"/>
                    <a:gd name="T19" fmla="*/ 95 h 172"/>
                    <a:gd name="T20" fmla="*/ 25 w 154"/>
                    <a:gd name="T21" fmla="*/ 95 h 172"/>
                    <a:gd name="T22" fmla="*/ 82 w 154"/>
                    <a:gd name="T23" fmla="*/ 150 h 172"/>
                    <a:gd name="T24" fmla="*/ 129 w 154"/>
                    <a:gd name="T25" fmla="*/ 131 h 172"/>
                    <a:gd name="T26" fmla="*/ 136 w 154"/>
                    <a:gd name="T27" fmla="*/ 128 h 172"/>
                    <a:gd name="T28" fmla="*/ 146 w 154"/>
                    <a:gd name="T29" fmla="*/ 139 h 172"/>
                    <a:gd name="T30" fmla="*/ 142 w 154"/>
                    <a:gd name="T31" fmla="*/ 147 h 172"/>
                    <a:gd name="T32" fmla="*/ 81 w 154"/>
                    <a:gd name="T33" fmla="*/ 172 h 1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54" h="172">
                      <a:moveTo>
                        <a:pt x="129" y="76"/>
                      </a:moveTo>
                      <a:cubicBezTo>
                        <a:pt x="127" y="47"/>
                        <a:pt x="110" y="21"/>
                        <a:pt x="77" y="21"/>
                      </a:cubicBezTo>
                      <a:cubicBezTo>
                        <a:pt x="49" y="21"/>
                        <a:pt x="28" y="44"/>
                        <a:pt x="25" y="76"/>
                      </a:cubicBezTo>
                      <a:lnTo>
                        <a:pt x="129" y="76"/>
                      </a:lnTo>
                      <a:close/>
                      <a:moveTo>
                        <a:pt x="81" y="172"/>
                      </a:moveTo>
                      <a:cubicBezTo>
                        <a:pt x="36" y="172"/>
                        <a:pt x="0" y="137"/>
                        <a:pt x="0" y="86"/>
                      </a:cubicBezTo>
                      <a:cubicBezTo>
                        <a:pt x="0" y="85"/>
                        <a:pt x="0" y="85"/>
                        <a:pt x="0" y="85"/>
                      </a:cubicBezTo>
                      <a:cubicBezTo>
                        <a:pt x="0" y="38"/>
                        <a:pt x="33" y="0"/>
                        <a:pt x="78" y="0"/>
                      </a:cubicBezTo>
                      <a:cubicBezTo>
                        <a:pt x="126" y="0"/>
                        <a:pt x="154" y="40"/>
                        <a:pt x="154" y="83"/>
                      </a:cubicBezTo>
                      <a:cubicBezTo>
                        <a:pt x="154" y="90"/>
                        <a:pt x="148" y="95"/>
                        <a:pt x="142" y="95"/>
                      </a:cubicBezTo>
                      <a:cubicBezTo>
                        <a:pt x="25" y="95"/>
                        <a:pt x="25" y="95"/>
                        <a:pt x="25" y="95"/>
                      </a:cubicBezTo>
                      <a:cubicBezTo>
                        <a:pt x="28" y="130"/>
                        <a:pt x="53" y="150"/>
                        <a:pt x="82" y="150"/>
                      </a:cubicBezTo>
                      <a:cubicBezTo>
                        <a:pt x="102" y="150"/>
                        <a:pt x="117" y="142"/>
                        <a:pt x="129" y="131"/>
                      </a:cubicBezTo>
                      <a:cubicBezTo>
                        <a:pt x="131" y="130"/>
                        <a:pt x="133" y="128"/>
                        <a:pt x="136" y="128"/>
                      </a:cubicBezTo>
                      <a:cubicBezTo>
                        <a:pt x="142" y="128"/>
                        <a:pt x="146" y="133"/>
                        <a:pt x="146" y="139"/>
                      </a:cubicBezTo>
                      <a:cubicBezTo>
                        <a:pt x="146" y="142"/>
                        <a:pt x="145" y="145"/>
                        <a:pt x="142" y="147"/>
                      </a:cubicBezTo>
                      <a:cubicBezTo>
                        <a:pt x="127" y="162"/>
                        <a:pt x="109" y="172"/>
                        <a:pt x="81" y="172"/>
                      </a:cubicBezTo>
                    </a:path>
                  </a:pathLst>
                </a:custGeom>
                <a:solidFill>
                  <a:srgbClr val="717073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lvl="0"/>
                  <a:endParaRPr lang="en-US" baseline="0" dirty="0"/>
                </a:p>
              </p:txBody>
            </p:sp>
            <p:sp>
              <p:nvSpPr>
                <p:cNvPr id="55" name="Freeform 9">
                  <a:extLst>
                    <a:ext uri="{FF2B5EF4-FFF2-40B4-BE49-F238E27FC236}">
                      <a16:creationId xmlns:a16="http://schemas.microsoft.com/office/drawing/2014/main" id="{E34818B6-B39F-4525-93EE-7BF2D7EC310D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1377775" y="6569284"/>
                  <a:ext cx="108898" cy="130361"/>
                </a:xfrm>
                <a:custGeom>
                  <a:avLst/>
                  <a:gdLst>
                    <a:gd name="T0" fmla="*/ 122 w 146"/>
                    <a:gd name="T1" fmla="*/ 107 h 172"/>
                    <a:gd name="T2" fmla="*/ 122 w 146"/>
                    <a:gd name="T3" fmla="*/ 91 h 172"/>
                    <a:gd name="T4" fmla="*/ 74 w 146"/>
                    <a:gd name="T5" fmla="*/ 84 h 172"/>
                    <a:gd name="T6" fmla="*/ 25 w 146"/>
                    <a:gd name="T7" fmla="*/ 118 h 172"/>
                    <a:gd name="T8" fmla="*/ 25 w 146"/>
                    <a:gd name="T9" fmla="*/ 119 h 172"/>
                    <a:gd name="T10" fmla="*/ 67 w 146"/>
                    <a:gd name="T11" fmla="*/ 152 h 172"/>
                    <a:gd name="T12" fmla="*/ 122 w 146"/>
                    <a:gd name="T13" fmla="*/ 107 h 172"/>
                    <a:gd name="T14" fmla="*/ 0 w 146"/>
                    <a:gd name="T15" fmla="*/ 120 h 172"/>
                    <a:gd name="T16" fmla="*/ 0 w 146"/>
                    <a:gd name="T17" fmla="*/ 119 h 172"/>
                    <a:gd name="T18" fmla="*/ 71 w 146"/>
                    <a:gd name="T19" fmla="*/ 66 h 172"/>
                    <a:gd name="T20" fmla="*/ 122 w 146"/>
                    <a:gd name="T21" fmla="*/ 73 h 172"/>
                    <a:gd name="T22" fmla="*/ 122 w 146"/>
                    <a:gd name="T23" fmla="*/ 67 h 172"/>
                    <a:gd name="T24" fmla="*/ 73 w 146"/>
                    <a:gd name="T25" fmla="*/ 22 h 172"/>
                    <a:gd name="T26" fmla="*/ 34 w 146"/>
                    <a:gd name="T27" fmla="*/ 30 h 172"/>
                    <a:gd name="T28" fmla="*/ 30 w 146"/>
                    <a:gd name="T29" fmla="*/ 31 h 172"/>
                    <a:gd name="T30" fmla="*/ 19 w 146"/>
                    <a:gd name="T31" fmla="*/ 20 h 172"/>
                    <a:gd name="T32" fmla="*/ 26 w 146"/>
                    <a:gd name="T33" fmla="*/ 10 h 172"/>
                    <a:gd name="T34" fmla="*/ 75 w 146"/>
                    <a:gd name="T35" fmla="*/ 0 h 172"/>
                    <a:gd name="T36" fmla="*/ 129 w 146"/>
                    <a:gd name="T37" fmla="*/ 19 h 172"/>
                    <a:gd name="T38" fmla="*/ 146 w 146"/>
                    <a:gd name="T39" fmla="*/ 67 h 172"/>
                    <a:gd name="T40" fmla="*/ 146 w 146"/>
                    <a:gd name="T41" fmla="*/ 158 h 172"/>
                    <a:gd name="T42" fmla="*/ 134 w 146"/>
                    <a:gd name="T43" fmla="*/ 170 h 172"/>
                    <a:gd name="T44" fmla="*/ 122 w 146"/>
                    <a:gd name="T45" fmla="*/ 159 h 172"/>
                    <a:gd name="T46" fmla="*/ 122 w 146"/>
                    <a:gd name="T47" fmla="*/ 143 h 172"/>
                    <a:gd name="T48" fmla="*/ 62 w 146"/>
                    <a:gd name="T49" fmla="*/ 172 h 172"/>
                    <a:gd name="T50" fmla="*/ 0 w 146"/>
                    <a:gd name="T51" fmla="*/ 120 h 1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146" h="172">
                      <a:moveTo>
                        <a:pt x="122" y="107"/>
                      </a:moveTo>
                      <a:cubicBezTo>
                        <a:pt x="122" y="91"/>
                        <a:pt x="122" y="91"/>
                        <a:pt x="122" y="91"/>
                      </a:cubicBezTo>
                      <a:cubicBezTo>
                        <a:pt x="110" y="88"/>
                        <a:pt x="94" y="84"/>
                        <a:pt x="74" y="84"/>
                      </a:cubicBezTo>
                      <a:cubicBezTo>
                        <a:pt x="43" y="84"/>
                        <a:pt x="25" y="98"/>
                        <a:pt x="25" y="118"/>
                      </a:cubicBezTo>
                      <a:cubicBezTo>
                        <a:pt x="25" y="119"/>
                        <a:pt x="25" y="119"/>
                        <a:pt x="25" y="119"/>
                      </a:cubicBezTo>
                      <a:cubicBezTo>
                        <a:pt x="25" y="140"/>
                        <a:pt x="45" y="152"/>
                        <a:pt x="67" y="152"/>
                      </a:cubicBezTo>
                      <a:cubicBezTo>
                        <a:pt x="97" y="152"/>
                        <a:pt x="122" y="133"/>
                        <a:pt x="122" y="107"/>
                      </a:cubicBezTo>
                      <a:moveTo>
                        <a:pt x="0" y="120"/>
                      </a:moveTo>
                      <a:cubicBezTo>
                        <a:pt x="0" y="119"/>
                        <a:pt x="0" y="119"/>
                        <a:pt x="0" y="119"/>
                      </a:cubicBezTo>
                      <a:cubicBezTo>
                        <a:pt x="0" y="85"/>
                        <a:pt x="29" y="66"/>
                        <a:pt x="71" y="66"/>
                      </a:cubicBezTo>
                      <a:cubicBezTo>
                        <a:pt x="92" y="66"/>
                        <a:pt x="107" y="69"/>
                        <a:pt x="122" y="73"/>
                      </a:cubicBezTo>
                      <a:cubicBezTo>
                        <a:pt x="122" y="67"/>
                        <a:pt x="122" y="67"/>
                        <a:pt x="122" y="67"/>
                      </a:cubicBezTo>
                      <a:cubicBezTo>
                        <a:pt x="122" y="37"/>
                        <a:pt x="104" y="22"/>
                        <a:pt x="73" y="22"/>
                      </a:cubicBezTo>
                      <a:cubicBezTo>
                        <a:pt x="56" y="22"/>
                        <a:pt x="46" y="24"/>
                        <a:pt x="34" y="30"/>
                      </a:cubicBezTo>
                      <a:cubicBezTo>
                        <a:pt x="33" y="30"/>
                        <a:pt x="31" y="31"/>
                        <a:pt x="30" y="31"/>
                      </a:cubicBezTo>
                      <a:cubicBezTo>
                        <a:pt x="24" y="31"/>
                        <a:pt x="19" y="26"/>
                        <a:pt x="19" y="20"/>
                      </a:cubicBezTo>
                      <a:cubicBezTo>
                        <a:pt x="19" y="15"/>
                        <a:pt x="21" y="12"/>
                        <a:pt x="26" y="10"/>
                      </a:cubicBezTo>
                      <a:cubicBezTo>
                        <a:pt x="42" y="3"/>
                        <a:pt x="54" y="0"/>
                        <a:pt x="75" y="0"/>
                      </a:cubicBezTo>
                      <a:cubicBezTo>
                        <a:pt x="99" y="0"/>
                        <a:pt x="117" y="6"/>
                        <a:pt x="129" y="19"/>
                      </a:cubicBezTo>
                      <a:cubicBezTo>
                        <a:pt x="140" y="30"/>
                        <a:pt x="146" y="46"/>
                        <a:pt x="146" y="67"/>
                      </a:cubicBezTo>
                      <a:cubicBezTo>
                        <a:pt x="146" y="158"/>
                        <a:pt x="146" y="158"/>
                        <a:pt x="146" y="158"/>
                      </a:cubicBezTo>
                      <a:cubicBezTo>
                        <a:pt x="146" y="165"/>
                        <a:pt x="141" y="170"/>
                        <a:pt x="134" y="170"/>
                      </a:cubicBezTo>
                      <a:cubicBezTo>
                        <a:pt x="127" y="170"/>
                        <a:pt x="122" y="165"/>
                        <a:pt x="122" y="159"/>
                      </a:cubicBezTo>
                      <a:cubicBezTo>
                        <a:pt x="122" y="143"/>
                        <a:pt x="122" y="143"/>
                        <a:pt x="122" y="143"/>
                      </a:cubicBezTo>
                      <a:cubicBezTo>
                        <a:pt x="111" y="158"/>
                        <a:pt x="91" y="172"/>
                        <a:pt x="62" y="172"/>
                      </a:cubicBezTo>
                      <a:cubicBezTo>
                        <a:pt x="32" y="172"/>
                        <a:pt x="0" y="154"/>
                        <a:pt x="0" y="120"/>
                      </a:cubicBezTo>
                    </a:path>
                  </a:pathLst>
                </a:custGeom>
                <a:solidFill>
                  <a:srgbClr val="717073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lvl="0"/>
                  <a:endParaRPr lang="en-US" baseline="0" dirty="0"/>
                </a:p>
              </p:txBody>
            </p:sp>
            <p:sp>
              <p:nvSpPr>
                <p:cNvPr id="56" name="Freeform 10">
                  <a:extLst>
                    <a:ext uri="{FF2B5EF4-FFF2-40B4-BE49-F238E27FC236}">
                      <a16:creationId xmlns:a16="http://schemas.microsoft.com/office/drawing/2014/main" id="{76DEA3DA-6732-42E5-A7A2-DE5A4BBE9796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863272" y="6563918"/>
                  <a:ext cx="325115" cy="135727"/>
                </a:xfrm>
                <a:custGeom>
                  <a:avLst/>
                  <a:gdLst>
                    <a:gd name="T0" fmla="*/ 49 w 435"/>
                    <a:gd name="T1" fmla="*/ 18 h 179"/>
                    <a:gd name="T2" fmla="*/ 17 w 435"/>
                    <a:gd name="T3" fmla="*/ 6 h 179"/>
                    <a:gd name="T4" fmla="*/ 6 w 435"/>
                    <a:gd name="T5" fmla="*/ 37 h 179"/>
                    <a:gd name="T6" fmla="*/ 58 w 435"/>
                    <a:gd name="T7" fmla="*/ 152 h 179"/>
                    <a:gd name="T8" fmla="*/ 92 w 435"/>
                    <a:gd name="T9" fmla="*/ 179 h 179"/>
                    <a:gd name="T10" fmla="*/ 125 w 435"/>
                    <a:gd name="T11" fmla="*/ 152 h 179"/>
                    <a:gd name="T12" fmla="*/ 171 w 435"/>
                    <a:gd name="T13" fmla="*/ 51 h 179"/>
                    <a:gd name="T14" fmla="*/ 178 w 435"/>
                    <a:gd name="T15" fmla="*/ 46 h 179"/>
                    <a:gd name="T16" fmla="*/ 185 w 435"/>
                    <a:gd name="T17" fmla="*/ 54 h 179"/>
                    <a:gd name="T18" fmla="*/ 185 w 435"/>
                    <a:gd name="T19" fmla="*/ 151 h 179"/>
                    <a:gd name="T20" fmla="*/ 209 w 435"/>
                    <a:gd name="T21" fmla="*/ 179 h 179"/>
                    <a:gd name="T22" fmla="*/ 234 w 435"/>
                    <a:gd name="T23" fmla="*/ 151 h 179"/>
                    <a:gd name="T24" fmla="*/ 234 w 435"/>
                    <a:gd name="T25" fmla="*/ 72 h 179"/>
                    <a:gd name="T26" fmla="*/ 260 w 435"/>
                    <a:gd name="T27" fmla="*/ 46 h 179"/>
                    <a:gd name="T28" fmla="*/ 285 w 435"/>
                    <a:gd name="T29" fmla="*/ 72 h 179"/>
                    <a:gd name="T30" fmla="*/ 285 w 435"/>
                    <a:gd name="T31" fmla="*/ 151 h 179"/>
                    <a:gd name="T32" fmla="*/ 310 w 435"/>
                    <a:gd name="T33" fmla="*/ 179 h 179"/>
                    <a:gd name="T34" fmla="*/ 334 w 435"/>
                    <a:gd name="T35" fmla="*/ 151 h 179"/>
                    <a:gd name="T36" fmla="*/ 334 w 435"/>
                    <a:gd name="T37" fmla="*/ 72 h 179"/>
                    <a:gd name="T38" fmla="*/ 360 w 435"/>
                    <a:gd name="T39" fmla="*/ 46 h 179"/>
                    <a:gd name="T40" fmla="*/ 385 w 435"/>
                    <a:gd name="T41" fmla="*/ 72 h 179"/>
                    <a:gd name="T42" fmla="*/ 385 w 435"/>
                    <a:gd name="T43" fmla="*/ 151 h 179"/>
                    <a:gd name="T44" fmla="*/ 410 w 435"/>
                    <a:gd name="T45" fmla="*/ 179 h 179"/>
                    <a:gd name="T46" fmla="*/ 435 w 435"/>
                    <a:gd name="T47" fmla="*/ 151 h 179"/>
                    <a:gd name="T48" fmla="*/ 435 w 435"/>
                    <a:gd name="T49" fmla="*/ 61 h 179"/>
                    <a:gd name="T50" fmla="*/ 375 w 435"/>
                    <a:gd name="T51" fmla="*/ 4 h 179"/>
                    <a:gd name="T52" fmla="*/ 323 w 435"/>
                    <a:gd name="T53" fmla="*/ 26 h 179"/>
                    <a:gd name="T54" fmla="*/ 272 w 435"/>
                    <a:gd name="T55" fmla="*/ 4 h 179"/>
                    <a:gd name="T56" fmla="*/ 223 w 435"/>
                    <a:gd name="T57" fmla="*/ 26 h 179"/>
                    <a:gd name="T58" fmla="*/ 178 w 435"/>
                    <a:gd name="T59" fmla="*/ 4 h 179"/>
                    <a:gd name="T60" fmla="*/ 125 w 435"/>
                    <a:gd name="T61" fmla="*/ 40 h 179"/>
                    <a:gd name="T62" fmla="*/ 92 w 435"/>
                    <a:gd name="T63" fmla="*/ 119 h 179"/>
                    <a:gd name="T64" fmla="*/ 49 w 435"/>
                    <a:gd name="T65" fmla="*/ 18 h 1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435" h="179">
                      <a:moveTo>
                        <a:pt x="49" y="18"/>
                      </a:moveTo>
                      <a:cubicBezTo>
                        <a:pt x="43" y="6"/>
                        <a:pt x="30" y="0"/>
                        <a:pt x="17" y="6"/>
                      </a:cubicBezTo>
                      <a:cubicBezTo>
                        <a:pt x="5" y="12"/>
                        <a:pt x="0" y="25"/>
                        <a:pt x="6" y="37"/>
                      </a:cubicBezTo>
                      <a:cubicBezTo>
                        <a:pt x="58" y="152"/>
                        <a:pt x="58" y="152"/>
                        <a:pt x="58" y="152"/>
                      </a:cubicBezTo>
                      <a:cubicBezTo>
                        <a:pt x="67" y="169"/>
                        <a:pt x="75" y="179"/>
                        <a:pt x="92" y="179"/>
                      </a:cubicBezTo>
                      <a:cubicBezTo>
                        <a:pt x="109" y="179"/>
                        <a:pt x="117" y="169"/>
                        <a:pt x="125" y="152"/>
                      </a:cubicBezTo>
                      <a:cubicBezTo>
                        <a:pt x="125" y="152"/>
                        <a:pt x="171" y="52"/>
                        <a:pt x="171" y="51"/>
                      </a:cubicBezTo>
                      <a:cubicBezTo>
                        <a:pt x="172" y="50"/>
                        <a:pt x="173" y="46"/>
                        <a:pt x="178" y="46"/>
                      </a:cubicBezTo>
                      <a:cubicBezTo>
                        <a:pt x="182" y="47"/>
                        <a:pt x="185" y="50"/>
                        <a:pt x="185" y="54"/>
                      </a:cubicBezTo>
                      <a:cubicBezTo>
                        <a:pt x="185" y="151"/>
                        <a:pt x="185" y="151"/>
                        <a:pt x="185" y="151"/>
                      </a:cubicBezTo>
                      <a:cubicBezTo>
                        <a:pt x="185" y="166"/>
                        <a:pt x="193" y="179"/>
                        <a:pt x="209" y="179"/>
                      </a:cubicBezTo>
                      <a:cubicBezTo>
                        <a:pt x="225" y="179"/>
                        <a:pt x="234" y="166"/>
                        <a:pt x="234" y="151"/>
                      </a:cubicBezTo>
                      <a:cubicBezTo>
                        <a:pt x="234" y="72"/>
                        <a:pt x="234" y="72"/>
                        <a:pt x="234" y="72"/>
                      </a:cubicBezTo>
                      <a:cubicBezTo>
                        <a:pt x="234" y="56"/>
                        <a:pt x="245" y="46"/>
                        <a:pt x="260" y="46"/>
                      </a:cubicBezTo>
                      <a:cubicBezTo>
                        <a:pt x="275" y="46"/>
                        <a:pt x="285" y="57"/>
                        <a:pt x="285" y="72"/>
                      </a:cubicBezTo>
                      <a:cubicBezTo>
                        <a:pt x="285" y="151"/>
                        <a:pt x="285" y="151"/>
                        <a:pt x="285" y="151"/>
                      </a:cubicBezTo>
                      <a:cubicBezTo>
                        <a:pt x="285" y="166"/>
                        <a:pt x="294" y="179"/>
                        <a:pt x="310" y="179"/>
                      </a:cubicBezTo>
                      <a:cubicBezTo>
                        <a:pt x="326" y="179"/>
                        <a:pt x="334" y="166"/>
                        <a:pt x="334" y="151"/>
                      </a:cubicBezTo>
                      <a:cubicBezTo>
                        <a:pt x="334" y="72"/>
                        <a:pt x="334" y="72"/>
                        <a:pt x="334" y="72"/>
                      </a:cubicBezTo>
                      <a:cubicBezTo>
                        <a:pt x="334" y="56"/>
                        <a:pt x="345" y="46"/>
                        <a:pt x="360" y="46"/>
                      </a:cubicBezTo>
                      <a:cubicBezTo>
                        <a:pt x="375" y="46"/>
                        <a:pt x="385" y="57"/>
                        <a:pt x="385" y="72"/>
                      </a:cubicBezTo>
                      <a:cubicBezTo>
                        <a:pt x="385" y="151"/>
                        <a:pt x="385" y="151"/>
                        <a:pt x="385" y="151"/>
                      </a:cubicBezTo>
                      <a:cubicBezTo>
                        <a:pt x="385" y="166"/>
                        <a:pt x="394" y="179"/>
                        <a:pt x="410" y="179"/>
                      </a:cubicBezTo>
                      <a:cubicBezTo>
                        <a:pt x="426" y="179"/>
                        <a:pt x="435" y="166"/>
                        <a:pt x="435" y="151"/>
                      </a:cubicBezTo>
                      <a:cubicBezTo>
                        <a:pt x="435" y="61"/>
                        <a:pt x="435" y="61"/>
                        <a:pt x="435" y="61"/>
                      </a:cubicBezTo>
                      <a:cubicBezTo>
                        <a:pt x="435" y="27"/>
                        <a:pt x="408" y="4"/>
                        <a:pt x="375" y="4"/>
                      </a:cubicBezTo>
                      <a:cubicBezTo>
                        <a:pt x="343" y="4"/>
                        <a:pt x="323" y="26"/>
                        <a:pt x="323" y="26"/>
                      </a:cubicBezTo>
                      <a:cubicBezTo>
                        <a:pt x="312" y="12"/>
                        <a:pt x="297" y="4"/>
                        <a:pt x="272" y="4"/>
                      </a:cubicBezTo>
                      <a:cubicBezTo>
                        <a:pt x="246" y="4"/>
                        <a:pt x="223" y="26"/>
                        <a:pt x="223" y="26"/>
                      </a:cubicBezTo>
                      <a:cubicBezTo>
                        <a:pt x="212" y="12"/>
                        <a:pt x="194" y="4"/>
                        <a:pt x="178" y="4"/>
                      </a:cubicBezTo>
                      <a:cubicBezTo>
                        <a:pt x="155" y="4"/>
                        <a:pt x="136" y="14"/>
                        <a:pt x="125" y="40"/>
                      </a:cubicBezTo>
                      <a:cubicBezTo>
                        <a:pt x="92" y="119"/>
                        <a:pt x="92" y="119"/>
                        <a:pt x="92" y="119"/>
                      </a:cubicBezTo>
                      <a:lnTo>
                        <a:pt x="49" y="18"/>
                      </a:lnTo>
                      <a:close/>
                    </a:path>
                  </a:pathLst>
                </a:custGeom>
                <a:solidFill>
                  <a:srgbClr val="717073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lvl="0"/>
                  <a:endParaRPr lang="en-US" baseline="0" dirty="0"/>
                </a:p>
              </p:txBody>
            </p:sp>
            <p:sp>
              <p:nvSpPr>
                <p:cNvPr id="57" name="Freeform 11">
                  <a:extLst>
                    <a:ext uri="{FF2B5EF4-FFF2-40B4-BE49-F238E27FC236}">
                      <a16:creationId xmlns:a16="http://schemas.microsoft.com/office/drawing/2014/main" id="{F4CFE90C-6948-4BAD-9807-D9B4EEBDA089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1694683" y="6569284"/>
                  <a:ext cx="29671" cy="31249"/>
                </a:xfrm>
                <a:custGeom>
                  <a:avLst/>
                  <a:gdLst>
                    <a:gd name="T0" fmla="*/ 37 w 40"/>
                    <a:gd name="T1" fmla="*/ 20 h 41"/>
                    <a:gd name="T2" fmla="*/ 37 w 40"/>
                    <a:gd name="T3" fmla="*/ 20 h 41"/>
                    <a:gd name="T4" fmla="*/ 20 w 40"/>
                    <a:gd name="T5" fmla="*/ 4 h 41"/>
                    <a:gd name="T6" fmla="*/ 3 w 40"/>
                    <a:gd name="T7" fmla="*/ 20 h 41"/>
                    <a:gd name="T8" fmla="*/ 3 w 40"/>
                    <a:gd name="T9" fmla="*/ 21 h 41"/>
                    <a:gd name="T10" fmla="*/ 20 w 40"/>
                    <a:gd name="T11" fmla="*/ 37 h 41"/>
                    <a:gd name="T12" fmla="*/ 37 w 40"/>
                    <a:gd name="T13" fmla="*/ 20 h 41"/>
                    <a:gd name="T14" fmla="*/ 0 w 40"/>
                    <a:gd name="T15" fmla="*/ 21 h 41"/>
                    <a:gd name="T16" fmla="*/ 0 w 40"/>
                    <a:gd name="T17" fmla="*/ 20 h 41"/>
                    <a:gd name="T18" fmla="*/ 20 w 40"/>
                    <a:gd name="T19" fmla="*/ 0 h 41"/>
                    <a:gd name="T20" fmla="*/ 40 w 40"/>
                    <a:gd name="T21" fmla="*/ 20 h 41"/>
                    <a:gd name="T22" fmla="*/ 40 w 40"/>
                    <a:gd name="T23" fmla="*/ 20 h 41"/>
                    <a:gd name="T24" fmla="*/ 20 w 40"/>
                    <a:gd name="T25" fmla="*/ 41 h 41"/>
                    <a:gd name="T26" fmla="*/ 0 w 40"/>
                    <a:gd name="T27" fmla="*/ 21 h 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0" h="41">
                      <a:moveTo>
                        <a:pt x="37" y="20"/>
                      </a:moveTo>
                      <a:cubicBezTo>
                        <a:pt x="37" y="20"/>
                        <a:pt x="37" y="20"/>
                        <a:pt x="37" y="20"/>
                      </a:cubicBezTo>
                      <a:cubicBezTo>
                        <a:pt x="37" y="11"/>
                        <a:pt x="29" y="4"/>
                        <a:pt x="20" y="4"/>
                      </a:cubicBezTo>
                      <a:cubicBezTo>
                        <a:pt x="11" y="4"/>
                        <a:pt x="3" y="11"/>
                        <a:pt x="3" y="20"/>
                      </a:cubicBezTo>
                      <a:cubicBezTo>
                        <a:pt x="3" y="21"/>
                        <a:pt x="3" y="21"/>
                        <a:pt x="3" y="21"/>
                      </a:cubicBezTo>
                      <a:cubicBezTo>
                        <a:pt x="3" y="30"/>
                        <a:pt x="11" y="37"/>
                        <a:pt x="20" y="37"/>
                      </a:cubicBezTo>
                      <a:cubicBezTo>
                        <a:pt x="29" y="37"/>
                        <a:pt x="37" y="30"/>
                        <a:pt x="37" y="20"/>
                      </a:cubicBezTo>
                      <a:moveTo>
                        <a:pt x="0" y="21"/>
                      </a:moveTo>
                      <a:cubicBezTo>
                        <a:pt x="0" y="20"/>
                        <a:pt x="0" y="20"/>
                        <a:pt x="0" y="20"/>
                      </a:cubicBezTo>
                      <a:cubicBezTo>
                        <a:pt x="0" y="9"/>
                        <a:pt x="9" y="0"/>
                        <a:pt x="20" y="0"/>
                      </a:cubicBezTo>
                      <a:cubicBezTo>
                        <a:pt x="32" y="0"/>
                        <a:pt x="40" y="9"/>
                        <a:pt x="40" y="20"/>
                      </a:cubicBezTo>
                      <a:cubicBezTo>
                        <a:pt x="40" y="20"/>
                        <a:pt x="40" y="20"/>
                        <a:pt x="40" y="20"/>
                      </a:cubicBezTo>
                      <a:cubicBezTo>
                        <a:pt x="40" y="32"/>
                        <a:pt x="31" y="41"/>
                        <a:pt x="20" y="41"/>
                      </a:cubicBezTo>
                      <a:cubicBezTo>
                        <a:pt x="8" y="41"/>
                        <a:pt x="0" y="32"/>
                        <a:pt x="0" y="21"/>
                      </a:cubicBezTo>
                    </a:path>
                  </a:pathLst>
                </a:custGeom>
                <a:solidFill>
                  <a:srgbClr val="717073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lvl="0"/>
                  <a:endParaRPr lang="en-US" baseline="0" dirty="0"/>
                </a:p>
              </p:txBody>
            </p:sp>
            <p:sp>
              <p:nvSpPr>
                <p:cNvPr id="58" name="Freeform 12">
                  <a:extLst>
                    <a:ext uri="{FF2B5EF4-FFF2-40B4-BE49-F238E27FC236}">
                      <a16:creationId xmlns:a16="http://schemas.microsoft.com/office/drawing/2014/main" id="{027794EB-8EAB-417E-835D-CDA95E3EC6B8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1703521" y="6576859"/>
                  <a:ext cx="12626" cy="15151"/>
                </a:xfrm>
                <a:custGeom>
                  <a:avLst/>
                  <a:gdLst>
                    <a:gd name="T0" fmla="*/ 9 w 17"/>
                    <a:gd name="T1" fmla="*/ 10 h 20"/>
                    <a:gd name="T2" fmla="*/ 12 w 17"/>
                    <a:gd name="T3" fmla="*/ 7 h 20"/>
                    <a:gd name="T4" fmla="*/ 12 w 17"/>
                    <a:gd name="T5" fmla="*/ 7 h 20"/>
                    <a:gd name="T6" fmla="*/ 9 w 17"/>
                    <a:gd name="T7" fmla="*/ 4 h 20"/>
                    <a:gd name="T8" fmla="*/ 5 w 17"/>
                    <a:gd name="T9" fmla="*/ 4 h 20"/>
                    <a:gd name="T10" fmla="*/ 5 w 17"/>
                    <a:gd name="T11" fmla="*/ 10 h 20"/>
                    <a:gd name="T12" fmla="*/ 9 w 17"/>
                    <a:gd name="T13" fmla="*/ 10 h 20"/>
                    <a:gd name="T14" fmla="*/ 0 w 17"/>
                    <a:gd name="T15" fmla="*/ 2 h 20"/>
                    <a:gd name="T16" fmla="*/ 2 w 17"/>
                    <a:gd name="T17" fmla="*/ 0 h 20"/>
                    <a:gd name="T18" fmla="*/ 9 w 17"/>
                    <a:gd name="T19" fmla="*/ 0 h 20"/>
                    <a:gd name="T20" fmla="*/ 15 w 17"/>
                    <a:gd name="T21" fmla="*/ 2 h 20"/>
                    <a:gd name="T22" fmla="*/ 17 w 17"/>
                    <a:gd name="T23" fmla="*/ 7 h 20"/>
                    <a:gd name="T24" fmla="*/ 17 w 17"/>
                    <a:gd name="T25" fmla="*/ 7 h 20"/>
                    <a:gd name="T26" fmla="*/ 13 w 17"/>
                    <a:gd name="T27" fmla="*/ 13 h 20"/>
                    <a:gd name="T28" fmla="*/ 16 w 17"/>
                    <a:gd name="T29" fmla="*/ 17 h 20"/>
                    <a:gd name="T30" fmla="*/ 16 w 17"/>
                    <a:gd name="T31" fmla="*/ 18 h 20"/>
                    <a:gd name="T32" fmla="*/ 14 w 17"/>
                    <a:gd name="T33" fmla="*/ 20 h 20"/>
                    <a:gd name="T34" fmla="*/ 12 w 17"/>
                    <a:gd name="T35" fmla="*/ 19 h 20"/>
                    <a:gd name="T36" fmla="*/ 8 w 17"/>
                    <a:gd name="T37" fmla="*/ 14 h 20"/>
                    <a:gd name="T38" fmla="*/ 5 w 17"/>
                    <a:gd name="T39" fmla="*/ 14 h 20"/>
                    <a:gd name="T40" fmla="*/ 5 w 17"/>
                    <a:gd name="T41" fmla="*/ 18 h 20"/>
                    <a:gd name="T42" fmla="*/ 2 w 17"/>
                    <a:gd name="T43" fmla="*/ 20 h 20"/>
                    <a:gd name="T44" fmla="*/ 0 w 17"/>
                    <a:gd name="T45" fmla="*/ 18 h 20"/>
                    <a:gd name="T46" fmla="*/ 0 w 17"/>
                    <a:gd name="T47" fmla="*/ 2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7" h="20">
                      <a:moveTo>
                        <a:pt x="9" y="10"/>
                      </a:moveTo>
                      <a:cubicBezTo>
                        <a:pt x="11" y="10"/>
                        <a:pt x="12" y="9"/>
                        <a:pt x="12" y="7"/>
                      </a:cubicBezTo>
                      <a:cubicBezTo>
                        <a:pt x="12" y="7"/>
                        <a:pt x="12" y="7"/>
                        <a:pt x="12" y="7"/>
                      </a:cubicBezTo>
                      <a:cubicBezTo>
                        <a:pt x="12" y="5"/>
                        <a:pt x="11" y="4"/>
                        <a:pt x="9" y="4"/>
                      </a:cubicBezTo>
                      <a:cubicBezTo>
                        <a:pt x="5" y="4"/>
                        <a:pt x="5" y="4"/>
                        <a:pt x="5" y="4"/>
                      </a:cubicBezTo>
                      <a:cubicBezTo>
                        <a:pt x="5" y="10"/>
                        <a:pt x="5" y="10"/>
                        <a:pt x="5" y="10"/>
                      </a:cubicBezTo>
                      <a:lnTo>
                        <a:pt x="9" y="10"/>
                      </a:lnTo>
                      <a:close/>
                      <a:moveTo>
                        <a:pt x="0" y="2"/>
                      </a:moveTo>
                      <a:cubicBezTo>
                        <a:pt x="0" y="1"/>
                        <a:pt x="1" y="0"/>
                        <a:pt x="2" y="0"/>
                      </a:cubicBez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12" y="0"/>
                        <a:pt x="14" y="1"/>
                        <a:pt x="15" y="2"/>
                      </a:cubicBezTo>
                      <a:cubicBezTo>
                        <a:pt x="16" y="3"/>
                        <a:pt x="17" y="5"/>
                        <a:pt x="17" y="7"/>
                      </a:cubicBezTo>
                      <a:cubicBezTo>
                        <a:pt x="17" y="7"/>
                        <a:pt x="17" y="7"/>
                        <a:pt x="17" y="7"/>
                      </a:cubicBezTo>
                      <a:cubicBezTo>
                        <a:pt x="17" y="10"/>
                        <a:pt x="15" y="12"/>
                        <a:pt x="13" y="13"/>
                      </a:cubicBezTo>
                      <a:cubicBezTo>
                        <a:pt x="16" y="17"/>
                        <a:pt x="16" y="17"/>
                        <a:pt x="16" y="17"/>
                      </a:cubicBezTo>
                      <a:cubicBezTo>
                        <a:pt x="16" y="17"/>
                        <a:pt x="16" y="18"/>
                        <a:pt x="16" y="18"/>
                      </a:cubicBezTo>
                      <a:cubicBezTo>
                        <a:pt x="16" y="19"/>
                        <a:pt x="15" y="20"/>
                        <a:pt x="14" y="20"/>
                      </a:cubicBezTo>
                      <a:cubicBezTo>
                        <a:pt x="13" y="20"/>
                        <a:pt x="13" y="20"/>
                        <a:pt x="12" y="19"/>
                      </a:cubicBezTo>
                      <a:cubicBezTo>
                        <a:pt x="8" y="14"/>
                        <a:pt x="8" y="14"/>
                        <a:pt x="8" y="14"/>
                      </a:cubicBezTo>
                      <a:cubicBezTo>
                        <a:pt x="5" y="14"/>
                        <a:pt x="5" y="14"/>
                        <a:pt x="5" y="14"/>
                      </a:cubicBezTo>
                      <a:cubicBezTo>
                        <a:pt x="5" y="18"/>
                        <a:pt x="5" y="18"/>
                        <a:pt x="5" y="18"/>
                      </a:cubicBezTo>
                      <a:cubicBezTo>
                        <a:pt x="5" y="19"/>
                        <a:pt x="4" y="20"/>
                        <a:pt x="2" y="20"/>
                      </a:cubicBezTo>
                      <a:cubicBezTo>
                        <a:pt x="1" y="20"/>
                        <a:pt x="0" y="19"/>
                        <a:pt x="0" y="18"/>
                      </a:cubicBez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rgbClr val="717073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lvl="0"/>
                  <a:endParaRPr lang="en-US" baseline="0" dirty="0"/>
                </a:p>
              </p:txBody>
            </p:sp>
          </p:grpSp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91960E26-4A8C-487D-BA11-16895C9C529E}"/>
                  </a:ext>
                </a:extLst>
              </p:cNvPr>
              <p:cNvSpPr txBox="1"/>
              <p:nvPr/>
            </p:nvSpPr>
            <p:spPr bwMode="white">
              <a:xfrm flipH="1">
                <a:off x="2073593" y="6506318"/>
                <a:ext cx="1728888" cy="186690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no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sz="800" kern="1200" dirty="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rPr>
                  <a:t>Confidential</a:t>
                </a:r>
                <a:r>
                  <a:rPr lang="en-US" sz="800" dirty="0">
                    <a:solidFill>
                      <a:schemeClr val="bg1"/>
                    </a:solidFill>
                    <a:latin typeface="+mj-lt"/>
                    <a:ea typeface="Verdana" panose="020B0604030504040204" pitchFamily="34" charset="0"/>
                    <a:cs typeface="Verdana" panose="020B0604030504040204" pitchFamily="34" charset="0"/>
                  </a:rPr>
                  <a:t>  </a:t>
                </a:r>
                <a:r>
                  <a:rPr lang="en-US" sz="800" kern="1200" dirty="0">
                    <a:solidFill>
                      <a:schemeClr val="tx1"/>
                    </a:solidFill>
                    <a:latin typeface="+mj-lt"/>
                    <a:ea typeface="+mn-ea"/>
                    <a:cs typeface="Arial" panose="020B0604020202020204" pitchFamily="34" charset="0"/>
                  </a:rPr>
                  <a:t> │  </a:t>
                </a:r>
                <a:r>
                  <a:rPr lang="en-US" sz="800" kern="1200" dirty="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rPr>
                  <a:t>©2019 VMware, Inc.</a:t>
                </a:r>
              </a:p>
            </p:txBody>
          </p:sp>
          <p:sp>
            <p:nvSpPr>
              <p:cNvPr id="60" name="TextBox 59">
                <a:extLst>
                  <a:ext uri="{FF2B5EF4-FFF2-40B4-BE49-F238E27FC236}">
                    <a16:creationId xmlns:a16="http://schemas.microsoft.com/office/drawing/2014/main" id="{60CF08F0-C76A-4398-9640-36CAF8E20D37}"/>
                  </a:ext>
                </a:extLst>
              </p:cNvPr>
              <p:cNvSpPr txBox="1"/>
              <p:nvPr/>
            </p:nvSpPr>
            <p:spPr>
              <a:xfrm>
                <a:off x="11490941" y="6388099"/>
                <a:ext cx="437990" cy="36512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r">
                  <a:lnSpc>
                    <a:spcPct val="90000"/>
                  </a:lnSpc>
                </a:pPr>
                <a:fld id="{7A51DB15-7364-4F0B-A3A0-1309F8830053}" type="slidenum">
                  <a:rPr lang="en-US" sz="800" smtClean="0">
                    <a:latin typeface="+mj-lt"/>
                  </a:rPr>
                  <a:pPr algn="r">
                    <a:lnSpc>
                      <a:spcPct val="90000"/>
                    </a:lnSpc>
                  </a:pPr>
                  <a:t>2</a:t>
                </a:fld>
                <a:endParaRPr lang="en-US" dirty="0">
                  <a:latin typeface="+mj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48754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4">
            <a:extLst>
              <a:ext uri="{FF2B5EF4-FFF2-40B4-BE49-F238E27FC236}">
                <a16:creationId xmlns:a16="http://schemas.microsoft.com/office/drawing/2014/main" id="{863C235A-0BB3-4052-89E2-EE4D3F778D97}"/>
              </a:ext>
            </a:extLst>
          </p:cNvPr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pPr algn="ctr"/>
            <a:r>
              <a:rPr lang="en-US" dirty="0"/>
              <a:t>Architectur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D18E67A-026D-C241-B0B3-D2BFD50C0B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Extend Open Source Service Mesh for Enterprises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269AE723-2EE4-4F53-9CCF-F2228D60F0E3}"/>
              </a:ext>
            </a:extLst>
          </p:cNvPr>
          <p:cNvSpPr txBox="1"/>
          <p:nvPr/>
        </p:nvSpPr>
        <p:spPr>
          <a:xfrm>
            <a:off x="428419" y="2220344"/>
            <a:ext cx="1108640" cy="36933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200" dirty="0"/>
              <a:t>VMware</a:t>
            </a:r>
          </a:p>
          <a:p>
            <a:pPr algn="r"/>
            <a:r>
              <a:rPr lang="en-US" sz="1200" dirty="0"/>
              <a:t>SaaS / Cloud 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E2387C55-7E2F-45BF-BDBF-994A40A52152}"/>
              </a:ext>
            </a:extLst>
          </p:cNvPr>
          <p:cNvSpPr txBox="1"/>
          <p:nvPr/>
        </p:nvSpPr>
        <p:spPr>
          <a:xfrm>
            <a:off x="542839" y="4066124"/>
            <a:ext cx="994220" cy="55399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r">
              <a:spcAft>
                <a:spcPts val="600"/>
              </a:spcAft>
            </a:pPr>
            <a:r>
              <a:rPr lang="en-US" sz="1200" dirty="0"/>
              <a:t>Customer Clusters with Service Mesh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99374A46-5816-4F20-90D3-F64B55E812DD}"/>
              </a:ext>
            </a:extLst>
          </p:cNvPr>
          <p:cNvGrpSpPr/>
          <p:nvPr/>
        </p:nvGrpSpPr>
        <p:grpSpPr>
          <a:xfrm>
            <a:off x="10651009" y="3564146"/>
            <a:ext cx="1333897" cy="671586"/>
            <a:chOff x="10798045" y="3239863"/>
            <a:chExt cx="1333897" cy="671586"/>
          </a:xfrm>
        </p:grpSpPr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2F1E0338-126C-4E8B-929B-F3827C540CCE}"/>
                </a:ext>
              </a:extLst>
            </p:cNvPr>
            <p:cNvSpPr txBox="1"/>
            <p:nvPr/>
          </p:nvSpPr>
          <p:spPr>
            <a:xfrm>
              <a:off x="10845525" y="3634450"/>
              <a:ext cx="1286417" cy="276999"/>
            </a:xfrm>
            <a:prstGeom prst="rect">
              <a:avLst/>
            </a:prstGeom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dirty="0">
                  <a:solidFill>
                    <a:schemeClr val="tx2"/>
                  </a:solidFill>
                </a:rPr>
                <a:t>Istio-based</a:t>
              </a:r>
            </a:p>
            <a:p>
              <a:r>
                <a:rPr lang="en-US" sz="900" dirty="0">
                  <a:solidFill>
                    <a:schemeClr val="tx2"/>
                  </a:solidFill>
                </a:rPr>
                <a:t>Control Plane</a:t>
              </a:r>
            </a:p>
          </p:txBody>
        </p:sp>
        <p:pic>
          <p:nvPicPr>
            <p:cNvPr id="89" name="Picture 88">
              <a:extLst>
                <a:ext uri="{FF2B5EF4-FFF2-40B4-BE49-F238E27FC236}">
                  <a16:creationId xmlns:a16="http://schemas.microsoft.com/office/drawing/2014/main" id="{8DD4D3F9-F367-4D1F-9B9F-568BD49A436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798045" y="3239863"/>
              <a:ext cx="322306" cy="347887"/>
            </a:xfrm>
            <a:prstGeom prst="rect">
              <a:avLst/>
            </a:prstGeom>
            <a:ln>
              <a:noFill/>
            </a:ln>
          </p:spPr>
        </p:pic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27673BC4-FAF8-489A-B143-6E35A8D028AB}"/>
              </a:ext>
            </a:extLst>
          </p:cNvPr>
          <p:cNvGrpSpPr/>
          <p:nvPr/>
        </p:nvGrpSpPr>
        <p:grpSpPr>
          <a:xfrm>
            <a:off x="10651009" y="2100435"/>
            <a:ext cx="1375927" cy="609150"/>
            <a:chOff x="10845524" y="1888193"/>
            <a:chExt cx="1375927" cy="609150"/>
          </a:xfrm>
        </p:grpSpPr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E6046DCA-CEC5-4A81-ADA4-21E8CC8F5B53}"/>
                </a:ext>
              </a:extLst>
            </p:cNvPr>
            <p:cNvSpPr txBox="1"/>
            <p:nvPr/>
          </p:nvSpPr>
          <p:spPr>
            <a:xfrm>
              <a:off x="10845524" y="2220344"/>
              <a:ext cx="1375927" cy="276999"/>
            </a:xfrm>
            <a:prstGeom prst="rect">
              <a:avLst/>
            </a:prstGeom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spcAft>
                  <a:spcPts val="600"/>
                </a:spcAft>
                <a:defRPr sz="900">
                  <a:solidFill>
                    <a:schemeClr val="tx2"/>
                  </a:solidFill>
                </a:defRPr>
              </a:lvl1pPr>
            </a:lstStyle>
            <a:p>
              <a:r>
                <a:rPr lang="en-US" dirty="0"/>
                <a:t>Global </a:t>
              </a:r>
              <a:br>
                <a:rPr lang="en-US" dirty="0"/>
              </a:br>
              <a:r>
                <a:rPr lang="en-US" dirty="0"/>
                <a:t>Orchestrator </a:t>
              </a:r>
            </a:p>
          </p:txBody>
        </p:sp>
        <p:pic>
          <p:nvPicPr>
            <p:cNvPr id="93" name="Picture 92">
              <a:extLst>
                <a:ext uri="{FF2B5EF4-FFF2-40B4-BE49-F238E27FC236}">
                  <a16:creationId xmlns:a16="http://schemas.microsoft.com/office/drawing/2014/main" id="{48C0D789-79B0-428A-8275-6DD2A1E2378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10845524" y="1888193"/>
              <a:ext cx="297684" cy="297684"/>
            </a:xfrm>
            <a:prstGeom prst="rect">
              <a:avLst/>
            </a:prstGeom>
          </p:spPr>
        </p:pic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42D9D8A9-E819-4C10-823C-72A6F60A072F}"/>
              </a:ext>
            </a:extLst>
          </p:cNvPr>
          <p:cNvGrpSpPr/>
          <p:nvPr/>
        </p:nvGrpSpPr>
        <p:grpSpPr>
          <a:xfrm>
            <a:off x="10651009" y="5092447"/>
            <a:ext cx="943311" cy="636587"/>
            <a:chOff x="10825685" y="4765123"/>
            <a:chExt cx="943311" cy="636587"/>
          </a:xfrm>
        </p:grpSpPr>
        <p:pic>
          <p:nvPicPr>
            <p:cNvPr id="90" name="Picture 89">
              <a:extLst>
                <a:ext uri="{FF2B5EF4-FFF2-40B4-BE49-F238E27FC236}">
                  <a16:creationId xmlns:a16="http://schemas.microsoft.com/office/drawing/2014/main" id="{04618F1F-8240-495A-B7BC-0D5FAA28C5E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825685" y="4765123"/>
              <a:ext cx="365002" cy="291844"/>
            </a:xfrm>
            <a:prstGeom prst="rect">
              <a:avLst/>
            </a:prstGeom>
          </p:spPr>
        </p:pic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A72D6F04-AC65-46B1-ADA1-B254BBBC57B1}"/>
                </a:ext>
              </a:extLst>
            </p:cNvPr>
            <p:cNvSpPr txBox="1"/>
            <p:nvPr/>
          </p:nvSpPr>
          <p:spPr>
            <a:xfrm>
              <a:off x="10845525" y="5124711"/>
              <a:ext cx="923471" cy="276999"/>
            </a:xfrm>
            <a:prstGeom prst="rect">
              <a:avLst/>
            </a:prstGeom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defRPr sz="900">
                  <a:solidFill>
                    <a:schemeClr val="tx2"/>
                  </a:solidFill>
                </a:defRPr>
              </a:lvl1pPr>
            </a:lstStyle>
            <a:p>
              <a:r>
                <a:rPr lang="en-US" dirty="0"/>
                <a:t>Envoy-based</a:t>
              </a:r>
            </a:p>
            <a:p>
              <a:r>
                <a:rPr lang="en-US" dirty="0"/>
                <a:t>Data Plane</a:t>
              </a:r>
            </a:p>
          </p:txBody>
        </p:sp>
      </p:grpSp>
      <p:sp>
        <p:nvSpPr>
          <p:cNvPr id="210" name="Rectangle 209">
            <a:extLst>
              <a:ext uri="{FF2B5EF4-FFF2-40B4-BE49-F238E27FC236}">
                <a16:creationId xmlns:a16="http://schemas.microsoft.com/office/drawing/2014/main" id="{72A097CE-1135-4EED-B064-6DA1516207E4}"/>
              </a:ext>
            </a:extLst>
          </p:cNvPr>
          <p:cNvSpPr/>
          <p:nvPr/>
        </p:nvSpPr>
        <p:spPr>
          <a:xfrm>
            <a:off x="2123779" y="3430986"/>
            <a:ext cx="8159319" cy="251062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dist="63500" dir="2700000" algn="tl" rotWithShape="0">
              <a:prstClr val="black">
                <a:alpha val="2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37160" rIns="18288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31" name="Rectangle 230">
            <a:extLst>
              <a:ext uri="{FF2B5EF4-FFF2-40B4-BE49-F238E27FC236}">
                <a16:creationId xmlns:a16="http://schemas.microsoft.com/office/drawing/2014/main" id="{EB3DCA7A-8A2C-45C5-970C-F07624E95A69}"/>
              </a:ext>
            </a:extLst>
          </p:cNvPr>
          <p:cNvSpPr/>
          <p:nvPr/>
        </p:nvSpPr>
        <p:spPr>
          <a:xfrm>
            <a:off x="2014753" y="3318673"/>
            <a:ext cx="8159319" cy="251062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dist="63500" dir="2700000" algn="tl" rotWithShape="0">
              <a:prstClr val="black">
                <a:alpha val="2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37160" rIns="18288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98" name="TextBox 197">
            <a:extLst>
              <a:ext uri="{FF2B5EF4-FFF2-40B4-BE49-F238E27FC236}">
                <a16:creationId xmlns:a16="http://schemas.microsoft.com/office/drawing/2014/main" id="{D87B271E-32D8-4494-A761-4A15A9A47BFB}"/>
              </a:ext>
            </a:extLst>
          </p:cNvPr>
          <p:cNvSpPr txBox="1"/>
          <p:nvPr/>
        </p:nvSpPr>
        <p:spPr>
          <a:xfrm>
            <a:off x="3108805" y="4242736"/>
            <a:ext cx="5752453" cy="44660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>
              <a:spcAft>
                <a:spcPts val="600"/>
              </a:spcAft>
              <a:defRPr sz="900">
                <a:solidFill>
                  <a:schemeClr val="tx2"/>
                </a:solidFill>
              </a:defRPr>
            </a:lvl1pPr>
          </a:lstStyle>
          <a:p>
            <a:pPr algn="ctr"/>
            <a:r>
              <a:rPr lang="en-US" sz="1400" dirty="0">
                <a:solidFill>
                  <a:schemeClr val="accent1"/>
                </a:solidFill>
                <a:cs typeface="Calibri" panose="020F0502020204030204" pitchFamily="34" charset="0"/>
              </a:rPr>
              <a:t>With VMware Extensions for End-Users, Data, and Federation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2F81E4A-4057-4F04-82F8-7FE553FC627D}"/>
              </a:ext>
            </a:extLst>
          </p:cNvPr>
          <p:cNvGrpSpPr/>
          <p:nvPr/>
        </p:nvGrpSpPr>
        <p:grpSpPr>
          <a:xfrm>
            <a:off x="2151934" y="3549649"/>
            <a:ext cx="7610837" cy="446602"/>
            <a:chOff x="2729075" y="3919059"/>
            <a:chExt cx="7610837" cy="446602"/>
          </a:xfrm>
        </p:grpSpPr>
        <p:sp>
          <p:nvSpPr>
            <p:cNvPr id="202" name="Rounded Rectangle 49">
              <a:extLst>
                <a:ext uri="{FF2B5EF4-FFF2-40B4-BE49-F238E27FC236}">
                  <a16:creationId xmlns:a16="http://schemas.microsoft.com/office/drawing/2014/main" id="{B1B30F3E-94A6-40A1-98D1-4D59F855AB73}"/>
                </a:ext>
              </a:extLst>
            </p:cNvPr>
            <p:cNvSpPr>
              <a:spLocks/>
            </p:cNvSpPr>
            <p:nvPr/>
          </p:nvSpPr>
          <p:spPr>
            <a:xfrm>
              <a:off x="2729075" y="3919059"/>
              <a:ext cx="1831458" cy="446602"/>
            </a:xfrm>
            <a:prstGeom prst="roundRect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Config</a:t>
              </a:r>
            </a:p>
            <a:p>
              <a:pPr algn="ctr"/>
              <a:r>
                <a:rPr lang="en-US" sz="800" dirty="0">
                  <a:solidFill>
                    <a:schemeClr val="bg1"/>
                  </a:solidFill>
                </a:rPr>
                <a:t>Pilot</a:t>
              </a:r>
            </a:p>
          </p:txBody>
        </p:sp>
        <p:sp>
          <p:nvSpPr>
            <p:cNvPr id="205" name="Rounded Rectangle 50">
              <a:extLst>
                <a:ext uri="{FF2B5EF4-FFF2-40B4-BE49-F238E27FC236}">
                  <a16:creationId xmlns:a16="http://schemas.microsoft.com/office/drawing/2014/main" id="{514AB8B5-208F-4514-88EE-4E52B700DA92}"/>
                </a:ext>
              </a:extLst>
            </p:cNvPr>
            <p:cNvSpPr>
              <a:spLocks/>
            </p:cNvSpPr>
            <p:nvPr/>
          </p:nvSpPr>
          <p:spPr>
            <a:xfrm>
              <a:off x="6581995" y="3919059"/>
              <a:ext cx="1831458" cy="446602"/>
            </a:xfrm>
            <a:prstGeom prst="roundRect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Telemetry</a:t>
              </a:r>
            </a:p>
            <a:p>
              <a:pPr algn="ctr"/>
              <a:r>
                <a:rPr lang="en-US" sz="800" dirty="0">
                  <a:solidFill>
                    <a:schemeClr val="bg1"/>
                  </a:solidFill>
                </a:rPr>
                <a:t>Mixe</a:t>
              </a:r>
              <a:r>
                <a:rPr lang="en-US" sz="900" dirty="0">
                  <a:solidFill>
                    <a:schemeClr val="bg1"/>
                  </a:solidFill>
                </a:rPr>
                <a:t>r</a:t>
              </a:r>
            </a:p>
          </p:txBody>
        </p:sp>
        <p:sp>
          <p:nvSpPr>
            <p:cNvPr id="206" name="Rounded Rectangle 53">
              <a:extLst>
                <a:ext uri="{FF2B5EF4-FFF2-40B4-BE49-F238E27FC236}">
                  <a16:creationId xmlns:a16="http://schemas.microsoft.com/office/drawing/2014/main" id="{FCAEDB4A-BE96-46E9-B06E-1C690AB6564C}"/>
                </a:ext>
              </a:extLst>
            </p:cNvPr>
            <p:cNvSpPr>
              <a:spLocks/>
            </p:cNvSpPr>
            <p:nvPr/>
          </p:nvSpPr>
          <p:spPr>
            <a:xfrm>
              <a:off x="8508454" y="3919059"/>
              <a:ext cx="1831458" cy="446602"/>
            </a:xfrm>
            <a:prstGeom prst="roundRect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Certificates</a:t>
              </a:r>
            </a:p>
            <a:p>
              <a:pPr algn="ctr"/>
              <a:r>
                <a:rPr lang="en-US" sz="800" dirty="0">
                  <a:solidFill>
                    <a:schemeClr val="bg1"/>
                  </a:solidFill>
                </a:rPr>
                <a:t>Citadel</a:t>
              </a:r>
            </a:p>
          </p:txBody>
        </p:sp>
        <p:sp>
          <p:nvSpPr>
            <p:cNvPr id="207" name="Rounded Rectangle 54">
              <a:extLst>
                <a:ext uri="{FF2B5EF4-FFF2-40B4-BE49-F238E27FC236}">
                  <a16:creationId xmlns:a16="http://schemas.microsoft.com/office/drawing/2014/main" id="{377CE874-54E5-4BF4-9B4A-70324C19E353}"/>
                </a:ext>
              </a:extLst>
            </p:cNvPr>
            <p:cNvSpPr>
              <a:spLocks/>
            </p:cNvSpPr>
            <p:nvPr/>
          </p:nvSpPr>
          <p:spPr>
            <a:xfrm>
              <a:off x="4655535" y="3919059"/>
              <a:ext cx="1831458" cy="446602"/>
            </a:xfrm>
            <a:prstGeom prst="roundRect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Policies</a:t>
              </a:r>
            </a:p>
            <a:p>
              <a:pPr algn="ctr"/>
              <a:r>
                <a:rPr lang="en-US" sz="800" dirty="0">
                  <a:solidFill>
                    <a:schemeClr val="bg1"/>
                  </a:solidFill>
                </a:rPr>
                <a:t>Mixer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3305638-AF08-4F4D-8131-A7AE088AF4AC}"/>
              </a:ext>
            </a:extLst>
          </p:cNvPr>
          <p:cNvGrpSpPr/>
          <p:nvPr/>
        </p:nvGrpSpPr>
        <p:grpSpPr>
          <a:xfrm>
            <a:off x="2150543" y="4917002"/>
            <a:ext cx="7887739" cy="692418"/>
            <a:chOff x="2618304" y="4801228"/>
            <a:chExt cx="7887739" cy="692418"/>
          </a:xfrm>
        </p:grpSpPr>
        <p:sp>
          <p:nvSpPr>
            <p:cNvPr id="208" name="Rectangle 207">
              <a:extLst>
                <a:ext uri="{FF2B5EF4-FFF2-40B4-BE49-F238E27FC236}">
                  <a16:creationId xmlns:a16="http://schemas.microsoft.com/office/drawing/2014/main" id="{109510A6-B299-4690-A0B4-81078926CAF9}"/>
                </a:ext>
              </a:extLst>
            </p:cNvPr>
            <p:cNvSpPr/>
            <p:nvPr/>
          </p:nvSpPr>
          <p:spPr>
            <a:xfrm>
              <a:off x="2618304" y="4801228"/>
              <a:ext cx="7887739" cy="692418"/>
            </a:xfrm>
            <a:prstGeom prst="rect">
              <a:avLst/>
            </a:prstGeom>
            <a:solidFill>
              <a:schemeClr val="tx1">
                <a:lumMod val="20000"/>
                <a:lumOff val="80000"/>
                <a:alpha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 dirty="0">
                <a:solidFill>
                  <a:schemeClr val="tx1"/>
                </a:solidFill>
              </a:endParaRP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320F232D-4C26-4C54-9AEC-73C2F4928FB5}"/>
                </a:ext>
              </a:extLst>
            </p:cNvPr>
            <p:cNvGrpSpPr/>
            <p:nvPr/>
          </p:nvGrpSpPr>
          <p:grpSpPr>
            <a:xfrm>
              <a:off x="2729075" y="4924136"/>
              <a:ext cx="7610837" cy="446602"/>
              <a:chOff x="2729075" y="5248630"/>
              <a:chExt cx="7610837" cy="446602"/>
            </a:xfrm>
          </p:grpSpPr>
          <p:sp>
            <p:nvSpPr>
              <p:cNvPr id="193" name="Rounded Rectangle 51">
                <a:extLst>
                  <a:ext uri="{FF2B5EF4-FFF2-40B4-BE49-F238E27FC236}">
                    <a16:creationId xmlns:a16="http://schemas.microsoft.com/office/drawing/2014/main" id="{C01CD394-EBA7-446A-A708-262D4E235EE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871032" y="5248630"/>
                <a:ext cx="2468880" cy="446602"/>
              </a:xfrm>
              <a:prstGeom prst="roundRect">
                <a:avLst>
                  <a:gd name="adj" fmla="val 0"/>
                </a:avLst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200" dirty="0">
                    <a:solidFill>
                      <a:schemeClr val="bg1"/>
                    </a:solidFill>
                  </a:rPr>
                  <a:t>Gateways</a:t>
                </a:r>
              </a:p>
              <a:p>
                <a:pPr algn="ctr"/>
                <a:r>
                  <a:rPr lang="en-US" sz="800" dirty="0">
                    <a:solidFill>
                      <a:schemeClr val="bg1"/>
                    </a:solidFill>
                  </a:rPr>
                  <a:t>Ingress / Egress</a:t>
                </a:r>
              </a:p>
            </p:txBody>
          </p:sp>
          <p:sp>
            <p:nvSpPr>
              <p:cNvPr id="196" name="Rounded Rectangle 96">
                <a:extLst>
                  <a:ext uri="{FF2B5EF4-FFF2-40B4-BE49-F238E27FC236}">
                    <a16:creationId xmlns:a16="http://schemas.microsoft.com/office/drawing/2014/main" id="{1AE646C7-6FF4-4583-91AE-019E079BF50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729075" y="5248630"/>
                <a:ext cx="2468880" cy="446602"/>
              </a:xfrm>
              <a:prstGeom prst="roundRect">
                <a:avLst>
                  <a:gd name="adj" fmla="val 0"/>
                </a:avLst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200" dirty="0">
                    <a:solidFill>
                      <a:schemeClr val="bg1"/>
                    </a:solidFill>
                  </a:rPr>
                  <a:t>Sidecars</a:t>
                </a:r>
              </a:p>
              <a:p>
                <a:pPr algn="ctr"/>
                <a:r>
                  <a:rPr lang="en-US" sz="800" dirty="0">
                    <a:solidFill>
                      <a:schemeClr val="bg1"/>
                    </a:solidFill>
                  </a:rPr>
                  <a:t>Kubernetes</a:t>
                </a:r>
              </a:p>
            </p:txBody>
          </p:sp>
          <p:sp>
            <p:nvSpPr>
              <p:cNvPr id="197" name="Rounded Rectangle 102">
                <a:extLst>
                  <a:ext uri="{FF2B5EF4-FFF2-40B4-BE49-F238E27FC236}">
                    <a16:creationId xmlns:a16="http://schemas.microsoft.com/office/drawing/2014/main" id="{9CFFB42A-2234-422F-8A60-5B26ED26188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00053" y="5248630"/>
                <a:ext cx="2468880" cy="446602"/>
              </a:xfrm>
              <a:prstGeom prst="roundRect">
                <a:avLst>
                  <a:gd name="adj" fmla="val 0"/>
                </a:avLst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200" dirty="0">
                    <a:solidFill>
                      <a:schemeClr val="bg1"/>
                    </a:solidFill>
                  </a:rPr>
                  <a:t>Plugins</a:t>
                </a:r>
              </a:p>
              <a:p>
                <a:pPr algn="ctr"/>
                <a:r>
                  <a:rPr lang="en-US" sz="800" dirty="0">
                    <a:solidFill>
                      <a:schemeClr val="bg1"/>
                    </a:solidFill>
                  </a:rPr>
                  <a:t>VMs</a:t>
                </a:r>
              </a:p>
            </p:txBody>
          </p:sp>
        </p:grpSp>
      </p:grpSp>
      <p:cxnSp>
        <p:nvCxnSpPr>
          <p:cNvPr id="212" name="Straight Connector 211">
            <a:extLst>
              <a:ext uri="{FF2B5EF4-FFF2-40B4-BE49-F238E27FC236}">
                <a16:creationId xmlns:a16="http://schemas.microsoft.com/office/drawing/2014/main" id="{E4F05BF7-6347-468B-9E59-ECFB70CD3BA3}"/>
              </a:ext>
            </a:extLst>
          </p:cNvPr>
          <p:cNvCxnSpPr>
            <a:cxnSpLocks/>
          </p:cNvCxnSpPr>
          <p:nvPr/>
        </p:nvCxnSpPr>
        <p:spPr bwMode="gray">
          <a:xfrm>
            <a:off x="593974" y="3096592"/>
            <a:ext cx="11000877" cy="0"/>
          </a:xfrm>
          <a:prstGeom prst="line">
            <a:avLst/>
          </a:prstGeom>
          <a:noFill/>
          <a:ln w="38100">
            <a:solidFill>
              <a:schemeClr val="bg2">
                <a:lumMod val="90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232" name="Rectangle 231">
            <a:extLst>
              <a:ext uri="{FF2B5EF4-FFF2-40B4-BE49-F238E27FC236}">
                <a16:creationId xmlns:a16="http://schemas.microsoft.com/office/drawing/2014/main" id="{B437C17E-67E6-4A1A-A707-AA5FB4020BBA}"/>
              </a:ext>
            </a:extLst>
          </p:cNvPr>
          <p:cNvSpPr/>
          <p:nvPr/>
        </p:nvSpPr>
        <p:spPr>
          <a:xfrm>
            <a:off x="2005102" y="1495505"/>
            <a:ext cx="8159319" cy="136199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dist="63500" dir="2700000" algn="tl" rotWithShape="0">
              <a:prstClr val="black">
                <a:alpha val="2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37160" rIns="182880" bIns="9144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24" name="Rectangle 223">
            <a:extLst>
              <a:ext uri="{FF2B5EF4-FFF2-40B4-BE49-F238E27FC236}">
                <a16:creationId xmlns:a16="http://schemas.microsoft.com/office/drawing/2014/main" id="{E5F8E148-54F3-4962-965E-1446C3E275F3}"/>
              </a:ext>
            </a:extLst>
          </p:cNvPr>
          <p:cNvSpPr/>
          <p:nvPr/>
        </p:nvSpPr>
        <p:spPr>
          <a:xfrm>
            <a:off x="2130494" y="2058801"/>
            <a:ext cx="7887739" cy="692418"/>
          </a:xfrm>
          <a:prstGeom prst="rect">
            <a:avLst/>
          </a:prstGeom>
          <a:solidFill>
            <a:schemeClr val="tx1">
              <a:lumMod val="20000"/>
              <a:lumOff val="80000"/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83" name="Rounded Rectangle 89">
            <a:extLst>
              <a:ext uri="{FF2B5EF4-FFF2-40B4-BE49-F238E27FC236}">
                <a16:creationId xmlns:a16="http://schemas.microsoft.com/office/drawing/2014/main" id="{5CC262AC-1BBD-4C62-BCAC-700E2EF20B8F}"/>
              </a:ext>
            </a:extLst>
          </p:cNvPr>
          <p:cNvSpPr/>
          <p:nvPr/>
        </p:nvSpPr>
        <p:spPr>
          <a:xfrm>
            <a:off x="3637921" y="2181709"/>
            <a:ext cx="1235965" cy="446602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en-US" sz="1200" dirty="0">
                <a:solidFill>
                  <a:prstClr val="white"/>
                </a:solidFill>
                <a:latin typeface="Metropolis"/>
              </a:rPr>
              <a:t>Visibility</a:t>
            </a:r>
          </a:p>
        </p:txBody>
      </p:sp>
      <p:sp>
        <p:nvSpPr>
          <p:cNvPr id="184" name="Rounded Rectangle 90">
            <a:extLst>
              <a:ext uri="{FF2B5EF4-FFF2-40B4-BE49-F238E27FC236}">
                <a16:creationId xmlns:a16="http://schemas.microsoft.com/office/drawing/2014/main" id="{A094515A-7239-489F-BE0D-DCBD2A742CBB}"/>
              </a:ext>
            </a:extLst>
          </p:cNvPr>
          <p:cNvSpPr/>
          <p:nvPr/>
        </p:nvSpPr>
        <p:spPr>
          <a:xfrm>
            <a:off x="5021073" y="2181709"/>
            <a:ext cx="1235965" cy="446602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en-US" sz="1200" dirty="0">
                <a:solidFill>
                  <a:prstClr val="white"/>
                </a:solidFill>
                <a:latin typeface="Metropolis"/>
              </a:rPr>
              <a:t>Control</a:t>
            </a:r>
          </a:p>
        </p:txBody>
      </p:sp>
      <p:sp>
        <p:nvSpPr>
          <p:cNvPr id="185" name="Rounded Rectangle 92">
            <a:extLst>
              <a:ext uri="{FF2B5EF4-FFF2-40B4-BE49-F238E27FC236}">
                <a16:creationId xmlns:a16="http://schemas.microsoft.com/office/drawing/2014/main" id="{F22AB768-320F-43DE-99CB-A6D402F82B58}"/>
              </a:ext>
            </a:extLst>
          </p:cNvPr>
          <p:cNvSpPr/>
          <p:nvPr/>
        </p:nvSpPr>
        <p:spPr>
          <a:xfrm>
            <a:off x="6404223" y="2181709"/>
            <a:ext cx="1235965" cy="446602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en-US" sz="1200" dirty="0">
                <a:solidFill>
                  <a:prstClr val="white"/>
                </a:solidFill>
                <a:latin typeface="Metropolis"/>
              </a:rPr>
              <a:t>Security</a:t>
            </a:r>
          </a:p>
        </p:txBody>
      </p:sp>
      <p:sp>
        <p:nvSpPr>
          <p:cNvPr id="186" name="Rounded Rectangle 94">
            <a:extLst>
              <a:ext uri="{FF2B5EF4-FFF2-40B4-BE49-F238E27FC236}">
                <a16:creationId xmlns:a16="http://schemas.microsoft.com/office/drawing/2014/main" id="{9F4CC152-5871-4BE6-9EAF-3D1ACC2A650C}"/>
              </a:ext>
            </a:extLst>
          </p:cNvPr>
          <p:cNvSpPr/>
          <p:nvPr/>
        </p:nvSpPr>
        <p:spPr>
          <a:xfrm>
            <a:off x="8034148" y="2181709"/>
            <a:ext cx="1831458" cy="446602"/>
          </a:xfrm>
          <a:prstGeom prst="roundRect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en-US" sz="1200" dirty="0">
                <a:solidFill>
                  <a:prstClr val="white"/>
                </a:solidFill>
                <a:latin typeface="Metropolis"/>
              </a:rPr>
              <a:t>Third-Party Components</a:t>
            </a:r>
          </a:p>
        </p:txBody>
      </p:sp>
      <p:sp>
        <p:nvSpPr>
          <p:cNvPr id="187" name="Rounded Rectangle 141">
            <a:extLst>
              <a:ext uri="{FF2B5EF4-FFF2-40B4-BE49-F238E27FC236}">
                <a16:creationId xmlns:a16="http://schemas.microsoft.com/office/drawing/2014/main" id="{0B4F3BF5-EACD-46D1-9C99-C4DA8C60501F}"/>
              </a:ext>
            </a:extLst>
          </p:cNvPr>
          <p:cNvSpPr/>
          <p:nvPr/>
        </p:nvSpPr>
        <p:spPr>
          <a:xfrm>
            <a:off x="2254769" y="2181709"/>
            <a:ext cx="1235965" cy="446602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en-US" sz="1200" dirty="0">
                <a:solidFill>
                  <a:schemeClr val="bg1"/>
                </a:solidFill>
              </a:rPr>
              <a:t>Discovery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9FE37750-2998-4556-944C-55482554C201}"/>
              </a:ext>
            </a:extLst>
          </p:cNvPr>
          <p:cNvGrpSpPr/>
          <p:nvPr/>
        </p:nvGrpSpPr>
        <p:grpSpPr>
          <a:xfrm>
            <a:off x="1903290" y="1231106"/>
            <a:ext cx="8382244" cy="738923"/>
            <a:chOff x="1903290" y="1231106"/>
            <a:chExt cx="8382244" cy="738923"/>
          </a:xfrm>
        </p:grpSpPr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59470565-4057-4A9A-880B-910EE5724D55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1903290" y="1501852"/>
              <a:ext cx="8382244" cy="0"/>
            </a:xfrm>
            <a:prstGeom prst="line">
              <a:avLst/>
            </a:prstGeom>
            <a:noFill/>
            <a:ln w="25400">
              <a:gradFill flip="none" rotWithShape="1">
                <a:gsLst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  <a:gs pos="55000">
                    <a:schemeClr val="accent2"/>
                  </a:gs>
                </a:gsLst>
                <a:path path="circle">
                  <a:fillToRect l="100000" t="100000"/>
                </a:path>
                <a:tileRect r="-100000" b="-100000"/>
              </a:gra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FB5B5233-1F84-41E8-BC54-37D2B8E89E26}"/>
                </a:ext>
              </a:extLst>
            </p:cNvPr>
            <p:cNvGrpSpPr/>
            <p:nvPr/>
          </p:nvGrpSpPr>
          <p:grpSpPr>
            <a:xfrm>
              <a:off x="3864530" y="1231106"/>
              <a:ext cx="4459763" cy="738923"/>
              <a:chOff x="3864530" y="1231106"/>
              <a:chExt cx="4459763" cy="738923"/>
            </a:xfrm>
          </p:grpSpPr>
          <p:grpSp>
            <p:nvGrpSpPr>
              <p:cNvPr id="65" name="Group 64">
                <a:extLst>
                  <a:ext uri="{FF2B5EF4-FFF2-40B4-BE49-F238E27FC236}">
                    <a16:creationId xmlns:a16="http://schemas.microsoft.com/office/drawing/2014/main" id="{23B136FE-59E2-4E22-AA2F-5A127FAC8FFE}"/>
                  </a:ext>
                </a:extLst>
              </p:cNvPr>
              <p:cNvGrpSpPr/>
              <p:nvPr/>
            </p:nvGrpSpPr>
            <p:grpSpPr>
              <a:xfrm>
                <a:off x="3864530" y="1231106"/>
                <a:ext cx="784509" cy="737573"/>
                <a:chOff x="3864530" y="1231106"/>
                <a:chExt cx="784509" cy="737573"/>
              </a:xfrm>
            </p:grpSpPr>
            <p:sp>
              <p:nvSpPr>
                <p:cNvPr id="82" name="TextBox 81">
                  <a:extLst>
                    <a:ext uri="{FF2B5EF4-FFF2-40B4-BE49-F238E27FC236}">
                      <a16:creationId xmlns:a16="http://schemas.microsoft.com/office/drawing/2014/main" id="{421AF97E-8DB3-4655-9A4B-FCEFA55E1030}"/>
                    </a:ext>
                  </a:extLst>
                </p:cNvPr>
                <p:cNvSpPr txBox="1"/>
                <p:nvPr/>
              </p:nvSpPr>
              <p:spPr>
                <a:xfrm>
                  <a:off x="3864530" y="1784013"/>
                  <a:ext cx="784509" cy="184666"/>
                </a:xfrm>
                <a:prstGeom prst="rect">
                  <a:avLst/>
                </a:prstGeom>
                <a:noFill/>
              </p:spPr>
              <p:txBody>
                <a:bodyPr wrap="none" lIns="182880" tIns="0" rIns="182880" bIns="0" rtlCol="0" anchor="ctr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accent2"/>
                      </a:solidFill>
                      <a:effectLst/>
                      <a:uLnTx/>
                      <a:uFillTx/>
                      <a:latin typeface="Metropolis"/>
                      <a:ea typeface="+mn-ea"/>
                      <a:cs typeface="+mn-cs"/>
                    </a:rPr>
                    <a:t>Users</a:t>
                  </a:r>
                </a:p>
              </p:txBody>
            </p:sp>
            <p:grpSp>
              <p:nvGrpSpPr>
                <p:cNvPr id="83" name="Group 82">
                  <a:extLst>
                    <a:ext uri="{FF2B5EF4-FFF2-40B4-BE49-F238E27FC236}">
                      <a16:creationId xmlns:a16="http://schemas.microsoft.com/office/drawing/2014/main" id="{815AFC64-8C32-4679-AE4B-4E4D666F67D3}"/>
                    </a:ext>
                  </a:extLst>
                </p:cNvPr>
                <p:cNvGrpSpPr/>
                <p:nvPr/>
              </p:nvGrpSpPr>
              <p:grpSpPr>
                <a:xfrm>
                  <a:off x="4026491" y="1231106"/>
                  <a:ext cx="460586" cy="531688"/>
                  <a:chOff x="6956606" y="1796514"/>
                  <a:chExt cx="679395" cy="784277"/>
                </a:xfrm>
              </p:grpSpPr>
              <p:grpSp>
                <p:nvGrpSpPr>
                  <p:cNvPr id="84" name="Group 83">
                    <a:extLst>
                      <a:ext uri="{FF2B5EF4-FFF2-40B4-BE49-F238E27FC236}">
                        <a16:creationId xmlns:a16="http://schemas.microsoft.com/office/drawing/2014/main" id="{9981C52A-E00D-4022-9E03-7119E9B0A2EF}"/>
                      </a:ext>
                    </a:extLst>
                  </p:cNvPr>
                  <p:cNvGrpSpPr/>
                  <p:nvPr/>
                </p:nvGrpSpPr>
                <p:grpSpPr>
                  <a:xfrm>
                    <a:off x="6956606" y="1796514"/>
                    <a:ext cx="679395" cy="784277"/>
                    <a:chOff x="6956606" y="1796514"/>
                    <a:chExt cx="679395" cy="784277"/>
                  </a:xfrm>
                </p:grpSpPr>
                <p:sp>
                  <p:nvSpPr>
                    <p:cNvPr id="86" name="Freeform 9">
                      <a:extLst>
                        <a:ext uri="{FF2B5EF4-FFF2-40B4-BE49-F238E27FC236}">
                          <a16:creationId xmlns:a16="http://schemas.microsoft.com/office/drawing/2014/main" id="{E28D0F10-5174-437B-85E6-9105380B4B4E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6956606" y="1796514"/>
                      <a:ext cx="679394" cy="784277"/>
                    </a:xfrm>
                    <a:custGeom>
                      <a:avLst/>
                      <a:gdLst>
                        <a:gd name="T0" fmla="*/ 2332 w 2332"/>
                        <a:gd name="T1" fmla="*/ 673 h 2692"/>
                        <a:gd name="T2" fmla="*/ 1166 w 2332"/>
                        <a:gd name="T3" fmla="*/ 0 h 2692"/>
                        <a:gd name="T4" fmla="*/ 0 w 2332"/>
                        <a:gd name="T5" fmla="*/ 673 h 2692"/>
                        <a:gd name="T6" fmla="*/ 0 w 2332"/>
                        <a:gd name="T7" fmla="*/ 2019 h 2692"/>
                        <a:gd name="T8" fmla="*/ 1166 w 2332"/>
                        <a:gd name="T9" fmla="*/ 2692 h 2692"/>
                        <a:gd name="T10" fmla="*/ 2332 w 2332"/>
                        <a:gd name="T11" fmla="*/ 2019 h 2692"/>
                        <a:gd name="T12" fmla="*/ 2332 w 2332"/>
                        <a:gd name="T13" fmla="*/ 673 h 269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332" h="2692">
                          <a:moveTo>
                            <a:pt x="2332" y="673"/>
                          </a:moveTo>
                          <a:lnTo>
                            <a:pt x="1166" y="0"/>
                          </a:lnTo>
                          <a:lnTo>
                            <a:pt x="0" y="673"/>
                          </a:lnTo>
                          <a:lnTo>
                            <a:pt x="0" y="2019"/>
                          </a:lnTo>
                          <a:lnTo>
                            <a:pt x="1166" y="2692"/>
                          </a:lnTo>
                          <a:lnTo>
                            <a:pt x="2332" y="2019"/>
                          </a:lnTo>
                          <a:lnTo>
                            <a:pt x="2332" y="673"/>
                          </a:lnTo>
                          <a:close/>
                        </a:path>
                      </a:pathLst>
                    </a:custGeom>
                    <a:solidFill>
                      <a:schemeClr val="accent2"/>
                    </a:solidFill>
                    <a:ln w="25400">
                      <a:noFill/>
                      <a:miter lim="800000"/>
                    </a:ln>
                    <a:effectLst/>
                  </p:spPr>
                  <p:style>
                    <a:lnRef idx="1">
                      <a:schemeClr val="accent1"/>
                    </a:lnRef>
                    <a:fillRef idx="3">
                      <a:schemeClr val="accent1"/>
                    </a:fillRef>
                    <a:effectRef idx="2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>
                        <a:spcAft>
                          <a:spcPts val="600"/>
                        </a:spcAft>
                      </a:pP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p:txBody>
                </p:sp>
                <p:sp>
                  <p:nvSpPr>
                    <p:cNvPr id="87" name="Freeform: Shape 86">
                      <a:extLst>
                        <a:ext uri="{FF2B5EF4-FFF2-40B4-BE49-F238E27FC236}">
                          <a16:creationId xmlns:a16="http://schemas.microsoft.com/office/drawing/2014/main" id="{C7AD9BDC-330A-489A-8828-536F781D0457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7038400" y="1934669"/>
                      <a:ext cx="597601" cy="646122"/>
                    </a:xfrm>
                    <a:custGeom>
                      <a:avLst/>
                      <a:gdLst>
                        <a:gd name="connsiteX0" fmla="*/ 497263 w 597601"/>
                        <a:gd name="connsiteY0" fmla="*/ 0 h 646122"/>
                        <a:gd name="connsiteX1" fmla="*/ 597601 w 597601"/>
                        <a:gd name="connsiteY1" fmla="*/ 57914 h 646122"/>
                        <a:gd name="connsiteX2" fmla="*/ 597601 w 597601"/>
                        <a:gd name="connsiteY2" fmla="*/ 450053 h 646122"/>
                        <a:gd name="connsiteX3" fmla="*/ 257904 w 597601"/>
                        <a:gd name="connsiteY3" fmla="*/ 646122 h 646122"/>
                        <a:gd name="connsiteX4" fmla="*/ 0 w 597601"/>
                        <a:gd name="connsiteY4" fmla="*/ 497263 h 64612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597601" h="646122">
                          <a:moveTo>
                            <a:pt x="497263" y="0"/>
                          </a:moveTo>
                          <a:lnTo>
                            <a:pt x="597601" y="57914"/>
                          </a:lnTo>
                          <a:lnTo>
                            <a:pt x="597601" y="450053"/>
                          </a:lnTo>
                          <a:lnTo>
                            <a:pt x="257904" y="646122"/>
                          </a:lnTo>
                          <a:lnTo>
                            <a:pt x="0" y="497263"/>
                          </a:lnTo>
                          <a:close/>
                        </a:path>
                      </a:pathLst>
                    </a:custGeom>
                    <a:gradFill>
                      <a:gsLst>
                        <a:gs pos="38000">
                          <a:schemeClr val="accent2">
                            <a:lumMod val="75000"/>
                            <a:alpha val="0"/>
                          </a:schemeClr>
                        </a:gs>
                        <a:gs pos="100000">
                          <a:schemeClr val="accent2">
                            <a:lumMod val="50000"/>
                          </a:schemeClr>
                        </a:gs>
                      </a:gsLst>
                      <a:lin ang="8100000" scaled="0"/>
                    </a:gradFill>
                    <a:ln w="25400">
                      <a:noFill/>
                      <a:miter lim="800000"/>
                    </a:ln>
                    <a:effectLst/>
                  </p:spPr>
                  <p:style>
                    <a:lnRef idx="1">
                      <a:schemeClr val="accent1"/>
                    </a:lnRef>
                    <a:fillRef idx="3">
                      <a:schemeClr val="accent1"/>
                    </a:fillRef>
                    <a:effectRef idx="2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>
                        <a:spcAft>
                          <a:spcPts val="600"/>
                        </a:spcAft>
                      </a:pP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p:txBody>
                </p:sp>
              </p:grpSp>
              <p:pic>
                <p:nvPicPr>
                  <p:cNvPr id="85" name="Graphic 84">
                    <a:extLst>
                      <a:ext uri="{FF2B5EF4-FFF2-40B4-BE49-F238E27FC236}">
                        <a16:creationId xmlns:a16="http://schemas.microsoft.com/office/drawing/2014/main" id="{597A2D7D-5E92-47B3-9623-0E35861AE819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6">
                    <a:extLst>
                      <a:ext uri="{96DAC541-7B7A-43D3-8B79-37D633B846F1}">
                        <asvg:svgBlip xmlns:asvg="http://schemas.microsoft.com/office/drawing/2016/SVG/main" r:embed="rId7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7089190" y="1998377"/>
                    <a:ext cx="414226" cy="380551"/>
                  </a:xfrm>
                  <a:prstGeom prst="rect">
                    <a:avLst/>
                  </a:prstGeom>
                </p:spPr>
              </p:pic>
            </p:grpSp>
          </p:grpSp>
          <p:grpSp>
            <p:nvGrpSpPr>
              <p:cNvPr id="66" name="Group 65">
                <a:extLst>
                  <a:ext uri="{FF2B5EF4-FFF2-40B4-BE49-F238E27FC236}">
                    <a16:creationId xmlns:a16="http://schemas.microsoft.com/office/drawing/2014/main" id="{DBAAF2B7-4E40-4961-82DD-6F13F37EA10A}"/>
                  </a:ext>
                </a:extLst>
              </p:cNvPr>
              <p:cNvGrpSpPr/>
              <p:nvPr/>
            </p:nvGrpSpPr>
            <p:grpSpPr>
              <a:xfrm>
                <a:off x="5605176" y="1231106"/>
                <a:ext cx="978473" cy="738923"/>
                <a:chOff x="5605176" y="1231106"/>
                <a:chExt cx="978473" cy="738923"/>
              </a:xfrm>
            </p:grpSpPr>
            <p:sp>
              <p:nvSpPr>
                <p:cNvPr id="74" name="TextBox 73">
                  <a:extLst>
                    <a:ext uri="{FF2B5EF4-FFF2-40B4-BE49-F238E27FC236}">
                      <a16:creationId xmlns:a16="http://schemas.microsoft.com/office/drawing/2014/main" id="{B9965025-3AD7-42D6-8770-D6C2080BDB43}"/>
                    </a:ext>
                  </a:extLst>
                </p:cNvPr>
                <p:cNvSpPr txBox="1"/>
                <p:nvPr/>
              </p:nvSpPr>
              <p:spPr>
                <a:xfrm>
                  <a:off x="5605176" y="1785363"/>
                  <a:ext cx="978473" cy="184666"/>
                </a:xfrm>
                <a:prstGeom prst="rect">
                  <a:avLst/>
                </a:prstGeom>
                <a:noFill/>
              </p:spPr>
              <p:txBody>
                <a:bodyPr wrap="none" lIns="182880" tIns="0" rIns="182880" bIns="0" rtlCol="0" anchor="ctr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accent2"/>
                      </a:solidFill>
                      <a:effectLst/>
                      <a:uLnTx/>
                      <a:uFillTx/>
                      <a:latin typeface="Metropolis"/>
                      <a:ea typeface="+mn-ea"/>
                      <a:cs typeface="+mn-cs"/>
                    </a:rPr>
                    <a:t>Services</a:t>
                  </a:r>
                </a:p>
              </p:txBody>
            </p:sp>
            <p:grpSp>
              <p:nvGrpSpPr>
                <p:cNvPr id="75" name="Group 74">
                  <a:extLst>
                    <a:ext uri="{FF2B5EF4-FFF2-40B4-BE49-F238E27FC236}">
                      <a16:creationId xmlns:a16="http://schemas.microsoft.com/office/drawing/2014/main" id="{36015A5A-622B-4E22-AA7F-6119262D333D}"/>
                    </a:ext>
                  </a:extLst>
                </p:cNvPr>
                <p:cNvGrpSpPr/>
                <p:nvPr/>
              </p:nvGrpSpPr>
              <p:grpSpPr>
                <a:xfrm>
                  <a:off x="5864119" y="1231106"/>
                  <a:ext cx="460586" cy="531688"/>
                  <a:chOff x="8480055" y="1796514"/>
                  <a:chExt cx="679395" cy="784277"/>
                </a:xfrm>
              </p:grpSpPr>
              <p:grpSp>
                <p:nvGrpSpPr>
                  <p:cNvPr id="76" name="Group 75">
                    <a:extLst>
                      <a:ext uri="{FF2B5EF4-FFF2-40B4-BE49-F238E27FC236}">
                        <a16:creationId xmlns:a16="http://schemas.microsoft.com/office/drawing/2014/main" id="{9D5AF228-AC58-49A1-9265-0D8873FC1C0B}"/>
                      </a:ext>
                    </a:extLst>
                  </p:cNvPr>
                  <p:cNvGrpSpPr/>
                  <p:nvPr/>
                </p:nvGrpSpPr>
                <p:grpSpPr>
                  <a:xfrm>
                    <a:off x="8480055" y="1796514"/>
                    <a:ext cx="679395" cy="784277"/>
                    <a:chOff x="6956606" y="1796514"/>
                    <a:chExt cx="679395" cy="784277"/>
                  </a:xfrm>
                </p:grpSpPr>
                <p:sp>
                  <p:nvSpPr>
                    <p:cNvPr id="80" name="Freeform 9">
                      <a:extLst>
                        <a:ext uri="{FF2B5EF4-FFF2-40B4-BE49-F238E27FC236}">
                          <a16:creationId xmlns:a16="http://schemas.microsoft.com/office/drawing/2014/main" id="{39D3F627-0FC4-4CCB-9574-B355F796B48C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6956606" y="1796514"/>
                      <a:ext cx="679394" cy="784277"/>
                    </a:xfrm>
                    <a:custGeom>
                      <a:avLst/>
                      <a:gdLst>
                        <a:gd name="T0" fmla="*/ 2332 w 2332"/>
                        <a:gd name="T1" fmla="*/ 673 h 2692"/>
                        <a:gd name="T2" fmla="*/ 1166 w 2332"/>
                        <a:gd name="T3" fmla="*/ 0 h 2692"/>
                        <a:gd name="T4" fmla="*/ 0 w 2332"/>
                        <a:gd name="T5" fmla="*/ 673 h 2692"/>
                        <a:gd name="T6" fmla="*/ 0 w 2332"/>
                        <a:gd name="T7" fmla="*/ 2019 h 2692"/>
                        <a:gd name="T8" fmla="*/ 1166 w 2332"/>
                        <a:gd name="T9" fmla="*/ 2692 h 2692"/>
                        <a:gd name="T10" fmla="*/ 2332 w 2332"/>
                        <a:gd name="T11" fmla="*/ 2019 h 2692"/>
                        <a:gd name="T12" fmla="*/ 2332 w 2332"/>
                        <a:gd name="T13" fmla="*/ 673 h 269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332" h="2692">
                          <a:moveTo>
                            <a:pt x="2332" y="673"/>
                          </a:moveTo>
                          <a:lnTo>
                            <a:pt x="1166" y="0"/>
                          </a:lnTo>
                          <a:lnTo>
                            <a:pt x="0" y="673"/>
                          </a:lnTo>
                          <a:lnTo>
                            <a:pt x="0" y="2019"/>
                          </a:lnTo>
                          <a:lnTo>
                            <a:pt x="1166" y="2692"/>
                          </a:lnTo>
                          <a:lnTo>
                            <a:pt x="2332" y="2019"/>
                          </a:lnTo>
                          <a:lnTo>
                            <a:pt x="2332" y="673"/>
                          </a:lnTo>
                          <a:close/>
                        </a:path>
                      </a:pathLst>
                    </a:custGeom>
                    <a:solidFill>
                      <a:schemeClr val="accent2"/>
                    </a:solidFill>
                    <a:ln w="25400">
                      <a:noFill/>
                      <a:miter lim="800000"/>
                    </a:ln>
                    <a:effectLst/>
                  </p:spPr>
                  <p:style>
                    <a:lnRef idx="1">
                      <a:schemeClr val="accent1"/>
                    </a:lnRef>
                    <a:fillRef idx="3">
                      <a:schemeClr val="accent1"/>
                    </a:fillRef>
                    <a:effectRef idx="2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>
                        <a:spcAft>
                          <a:spcPts val="600"/>
                        </a:spcAft>
                      </a:pP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p:txBody>
                </p:sp>
                <p:sp>
                  <p:nvSpPr>
                    <p:cNvPr id="81" name="Freeform: Shape 80">
                      <a:extLst>
                        <a:ext uri="{FF2B5EF4-FFF2-40B4-BE49-F238E27FC236}">
                          <a16:creationId xmlns:a16="http://schemas.microsoft.com/office/drawing/2014/main" id="{318D166F-CFFD-46D7-ADDA-EE3C70A503EF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7038400" y="1934669"/>
                      <a:ext cx="597601" cy="646122"/>
                    </a:xfrm>
                    <a:custGeom>
                      <a:avLst/>
                      <a:gdLst>
                        <a:gd name="connsiteX0" fmla="*/ 497263 w 597601"/>
                        <a:gd name="connsiteY0" fmla="*/ 0 h 646122"/>
                        <a:gd name="connsiteX1" fmla="*/ 597601 w 597601"/>
                        <a:gd name="connsiteY1" fmla="*/ 57914 h 646122"/>
                        <a:gd name="connsiteX2" fmla="*/ 597601 w 597601"/>
                        <a:gd name="connsiteY2" fmla="*/ 450053 h 646122"/>
                        <a:gd name="connsiteX3" fmla="*/ 257904 w 597601"/>
                        <a:gd name="connsiteY3" fmla="*/ 646122 h 646122"/>
                        <a:gd name="connsiteX4" fmla="*/ 0 w 597601"/>
                        <a:gd name="connsiteY4" fmla="*/ 497263 h 64612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597601" h="646122">
                          <a:moveTo>
                            <a:pt x="497263" y="0"/>
                          </a:moveTo>
                          <a:lnTo>
                            <a:pt x="597601" y="57914"/>
                          </a:lnTo>
                          <a:lnTo>
                            <a:pt x="597601" y="450053"/>
                          </a:lnTo>
                          <a:lnTo>
                            <a:pt x="257904" y="646122"/>
                          </a:lnTo>
                          <a:lnTo>
                            <a:pt x="0" y="497263"/>
                          </a:lnTo>
                          <a:close/>
                        </a:path>
                      </a:pathLst>
                    </a:custGeom>
                    <a:gradFill>
                      <a:gsLst>
                        <a:gs pos="38000">
                          <a:schemeClr val="accent2">
                            <a:lumMod val="75000"/>
                            <a:alpha val="0"/>
                          </a:schemeClr>
                        </a:gs>
                        <a:gs pos="100000">
                          <a:schemeClr val="accent2">
                            <a:lumMod val="50000"/>
                          </a:schemeClr>
                        </a:gs>
                      </a:gsLst>
                      <a:lin ang="8100000" scaled="0"/>
                    </a:gradFill>
                    <a:ln w="25400">
                      <a:noFill/>
                      <a:miter lim="800000"/>
                    </a:ln>
                    <a:effectLst/>
                  </p:spPr>
                  <p:style>
                    <a:lnRef idx="1">
                      <a:schemeClr val="accent1"/>
                    </a:lnRef>
                    <a:fillRef idx="3">
                      <a:schemeClr val="accent1"/>
                    </a:fillRef>
                    <a:effectRef idx="2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>
                        <a:spcAft>
                          <a:spcPts val="600"/>
                        </a:spcAft>
                      </a:pP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p:txBody>
                </p:sp>
              </p:grpSp>
              <p:pic>
                <p:nvPicPr>
                  <p:cNvPr id="77" name="Graphic 76">
                    <a:extLst>
                      <a:ext uri="{FF2B5EF4-FFF2-40B4-BE49-F238E27FC236}">
                        <a16:creationId xmlns:a16="http://schemas.microsoft.com/office/drawing/2014/main" id="{401A6740-20EF-479C-802F-12258ADBAD37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8">
                    <a:extLst>
                      <a:ext uri="{96DAC541-7B7A-43D3-8B79-37D633B846F1}">
                        <asvg:svgBlip xmlns:asvg="http://schemas.microsoft.com/office/drawing/2016/SVG/main" r:embed="rId9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8614345" y="1983245"/>
                    <a:ext cx="410815" cy="410815"/>
                  </a:xfrm>
                  <a:prstGeom prst="rect">
                    <a:avLst/>
                  </a:prstGeom>
                </p:spPr>
              </p:pic>
            </p:grpSp>
          </p:grpSp>
          <p:grpSp>
            <p:nvGrpSpPr>
              <p:cNvPr id="67" name="Group 66">
                <a:extLst>
                  <a:ext uri="{FF2B5EF4-FFF2-40B4-BE49-F238E27FC236}">
                    <a16:creationId xmlns:a16="http://schemas.microsoft.com/office/drawing/2014/main" id="{CE5410B9-4BBE-44B5-ABFC-7D04EC464171}"/>
                  </a:ext>
                </a:extLst>
              </p:cNvPr>
              <p:cNvGrpSpPr/>
              <p:nvPr/>
            </p:nvGrpSpPr>
            <p:grpSpPr>
              <a:xfrm>
                <a:off x="7610315" y="1231106"/>
                <a:ext cx="713978" cy="738923"/>
                <a:chOff x="7610315" y="1231106"/>
                <a:chExt cx="713978" cy="738923"/>
              </a:xfrm>
            </p:grpSpPr>
            <p:sp>
              <p:nvSpPr>
                <p:cNvPr id="68" name="TextBox 67">
                  <a:extLst>
                    <a:ext uri="{FF2B5EF4-FFF2-40B4-BE49-F238E27FC236}">
                      <a16:creationId xmlns:a16="http://schemas.microsoft.com/office/drawing/2014/main" id="{A67772FF-2C7A-4643-8083-7FFBC0B2C018}"/>
                    </a:ext>
                  </a:extLst>
                </p:cNvPr>
                <p:cNvSpPr txBox="1"/>
                <p:nvPr/>
              </p:nvSpPr>
              <p:spPr>
                <a:xfrm>
                  <a:off x="7610315" y="1785363"/>
                  <a:ext cx="713978" cy="184666"/>
                </a:xfrm>
                <a:prstGeom prst="rect">
                  <a:avLst/>
                </a:prstGeom>
                <a:noFill/>
              </p:spPr>
              <p:txBody>
                <a:bodyPr wrap="none" lIns="182880" tIns="0" rIns="182880" bIns="0" rtlCol="0" anchor="ctr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accent2"/>
                      </a:solidFill>
                      <a:effectLst/>
                      <a:uLnTx/>
                      <a:uFillTx/>
                      <a:latin typeface="Metropolis"/>
                      <a:ea typeface="+mn-ea"/>
                      <a:cs typeface="+mn-cs"/>
                    </a:rPr>
                    <a:t>Data</a:t>
                  </a:r>
                </a:p>
              </p:txBody>
            </p:sp>
            <p:grpSp>
              <p:nvGrpSpPr>
                <p:cNvPr id="69" name="Group 68">
                  <a:extLst>
                    <a:ext uri="{FF2B5EF4-FFF2-40B4-BE49-F238E27FC236}">
                      <a16:creationId xmlns:a16="http://schemas.microsoft.com/office/drawing/2014/main" id="{B8B54B43-8122-4C66-9D9F-CC35F59A2532}"/>
                    </a:ext>
                  </a:extLst>
                </p:cNvPr>
                <p:cNvGrpSpPr/>
                <p:nvPr/>
              </p:nvGrpSpPr>
              <p:grpSpPr>
                <a:xfrm>
                  <a:off x="7737011" y="1231106"/>
                  <a:ext cx="460586" cy="531688"/>
                  <a:chOff x="9949764" y="1796514"/>
                  <a:chExt cx="679395" cy="784277"/>
                </a:xfrm>
              </p:grpSpPr>
              <p:grpSp>
                <p:nvGrpSpPr>
                  <p:cNvPr id="70" name="Group 69">
                    <a:extLst>
                      <a:ext uri="{FF2B5EF4-FFF2-40B4-BE49-F238E27FC236}">
                        <a16:creationId xmlns:a16="http://schemas.microsoft.com/office/drawing/2014/main" id="{FE409AC3-F791-4033-959D-95D3D3F8829A}"/>
                      </a:ext>
                    </a:extLst>
                  </p:cNvPr>
                  <p:cNvGrpSpPr/>
                  <p:nvPr/>
                </p:nvGrpSpPr>
                <p:grpSpPr>
                  <a:xfrm>
                    <a:off x="9949764" y="1796514"/>
                    <a:ext cx="679395" cy="784277"/>
                    <a:chOff x="6956606" y="1796514"/>
                    <a:chExt cx="679395" cy="784277"/>
                  </a:xfrm>
                </p:grpSpPr>
                <p:sp>
                  <p:nvSpPr>
                    <p:cNvPr id="72" name="Freeform 9">
                      <a:extLst>
                        <a:ext uri="{FF2B5EF4-FFF2-40B4-BE49-F238E27FC236}">
                          <a16:creationId xmlns:a16="http://schemas.microsoft.com/office/drawing/2014/main" id="{906D439E-0100-45B8-AB95-21825A7BF593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6956606" y="1796514"/>
                      <a:ext cx="679394" cy="784277"/>
                    </a:xfrm>
                    <a:custGeom>
                      <a:avLst/>
                      <a:gdLst>
                        <a:gd name="T0" fmla="*/ 2332 w 2332"/>
                        <a:gd name="T1" fmla="*/ 673 h 2692"/>
                        <a:gd name="T2" fmla="*/ 1166 w 2332"/>
                        <a:gd name="T3" fmla="*/ 0 h 2692"/>
                        <a:gd name="T4" fmla="*/ 0 w 2332"/>
                        <a:gd name="T5" fmla="*/ 673 h 2692"/>
                        <a:gd name="T6" fmla="*/ 0 w 2332"/>
                        <a:gd name="T7" fmla="*/ 2019 h 2692"/>
                        <a:gd name="T8" fmla="*/ 1166 w 2332"/>
                        <a:gd name="T9" fmla="*/ 2692 h 2692"/>
                        <a:gd name="T10" fmla="*/ 2332 w 2332"/>
                        <a:gd name="T11" fmla="*/ 2019 h 2692"/>
                        <a:gd name="T12" fmla="*/ 2332 w 2332"/>
                        <a:gd name="T13" fmla="*/ 673 h 269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332" h="2692">
                          <a:moveTo>
                            <a:pt x="2332" y="673"/>
                          </a:moveTo>
                          <a:lnTo>
                            <a:pt x="1166" y="0"/>
                          </a:lnTo>
                          <a:lnTo>
                            <a:pt x="0" y="673"/>
                          </a:lnTo>
                          <a:lnTo>
                            <a:pt x="0" y="2019"/>
                          </a:lnTo>
                          <a:lnTo>
                            <a:pt x="1166" y="2692"/>
                          </a:lnTo>
                          <a:lnTo>
                            <a:pt x="2332" y="2019"/>
                          </a:lnTo>
                          <a:lnTo>
                            <a:pt x="2332" y="673"/>
                          </a:lnTo>
                          <a:close/>
                        </a:path>
                      </a:pathLst>
                    </a:custGeom>
                    <a:solidFill>
                      <a:schemeClr val="accent2"/>
                    </a:solidFill>
                    <a:ln w="25400">
                      <a:noFill/>
                      <a:miter lim="800000"/>
                    </a:ln>
                    <a:effectLst/>
                  </p:spPr>
                  <p:style>
                    <a:lnRef idx="1">
                      <a:schemeClr val="accent1"/>
                    </a:lnRef>
                    <a:fillRef idx="3">
                      <a:schemeClr val="accent1"/>
                    </a:fillRef>
                    <a:effectRef idx="2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>
                        <a:spcAft>
                          <a:spcPts val="600"/>
                        </a:spcAft>
                      </a:pP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p:txBody>
                </p:sp>
                <p:sp>
                  <p:nvSpPr>
                    <p:cNvPr id="73" name="Freeform: Shape 72">
                      <a:extLst>
                        <a:ext uri="{FF2B5EF4-FFF2-40B4-BE49-F238E27FC236}">
                          <a16:creationId xmlns:a16="http://schemas.microsoft.com/office/drawing/2014/main" id="{E4EB1951-E01F-4348-A320-BED1304FFC6F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7038400" y="1934669"/>
                      <a:ext cx="597601" cy="646122"/>
                    </a:xfrm>
                    <a:custGeom>
                      <a:avLst/>
                      <a:gdLst>
                        <a:gd name="connsiteX0" fmla="*/ 497263 w 597601"/>
                        <a:gd name="connsiteY0" fmla="*/ 0 h 646122"/>
                        <a:gd name="connsiteX1" fmla="*/ 597601 w 597601"/>
                        <a:gd name="connsiteY1" fmla="*/ 57914 h 646122"/>
                        <a:gd name="connsiteX2" fmla="*/ 597601 w 597601"/>
                        <a:gd name="connsiteY2" fmla="*/ 450053 h 646122"/>
                        <a:gd name="connsiteX3" fmla="*/ 257904 w 597601"/>
                        <a:gd name="connsiteY3" fmla="*/ 646122 h 646122"/>
                        <a:gd name="connsiteX4" fmla="*/ 0 w 597601"/>
                        <a:gd name="connsiteY4" fmla="*/ 497263 h 64612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597601" h="646122">
                          <a:moveTo>
                            <a:pt x="497263" y="0"/>
                          </a:moveTo>
                          <a:lnTo>
                            <a:pt x="597601" y="57914"/>
                          </a:lnTo>
                          <a:lnTo>
                            <a:pt x="597601" y="450053"/>
                          </a:lnTo>
                          <a:lnTo>
                            <a:pt x="257904" y="646122"/>
                          </a:lnTo>
                          <a:lnTo>
                            <a:pt x="0" y="497263"/>
                          </a:lnTo>
                          <a:close/>
                        </a:path>
                      </a:pathLst>
                    </a:custGeom>
                    <a:gradFill>
                      <a:gsLst>
                        <a:gs pos="38000">
                          <a:schemeClr val="accent2">
                            <a:lumMod val="75000"/>
                            <a:alpha val="0"/>
                          </a:schemeClr>
                        </a:gs>
                        <a:gs pos="100000">
                          <a:schemeClr val="accent2">
                            <a:lumMod val="50000"/>
                          </a:schemeClr>
                        </a:gs>
                      </a:gsLst>
                      <a:lin ang="8100000" scaled="0"/>
                    </a:gradFill>
                    <a:ln w="25400">
                      <a:noFill/>
                      <a:miter lim="800000"/>
                    </a:ln>
                    <a:effectLst/>
                  </p:spPr>
                  <p:style>
                    <a:lnRef idx="1">
                      <a:schemeClr val="accent1"/>
                    </a:lnRef>
                    <a:fillRef idx="3">
                      <a:schemeClr val="accent1"/>
                    </a:fillRef>
                    <a:effectRef idx="2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>
                        <a:spcAft>
                          <a:spcPts val="600"/>
                        </a:spcAft>
                      </a:pP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p:txBody>
                </p:sp>
              </p:grpSp>
              <p:pic>
                <p:nvPicPr>
                  <p:cNvPr id="71" name="Graphic 70">
                    <a:extLst>
                      <a:ext uri="{FF2B5EF4-FFF2-40B4-BE49-F238E27FC236}">
                        <a16:creationId xmlns:a16="http://schemas.microsoft.com/office/drawing/2014/main" id="{EE1545F7-B973-4B75-8F81-13CE18232D36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0">
                    <a:extLst>
                      <a:ext uri="{96DAC541-7B7A-43D3-8B79-37D633B846F1}">
                        <asvg:svgBlip xmlns:asvg="http://schemas.microsoft.com/office/drawing/2016/SVG/main" r:embed="rId11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0109386" y="1977017"/>
                    <a:ext cx="360153" cy="423272"/>
                  </a:xfrm>
                  <a:prstGeom prst="rect">
                    <a:avLst/>
                  </a:prstGeom>
                </p:spPr>
              </p:pic>
            </p:grpSp>
          </p:grpSp>
        </p:grpSp>
      </p:grpSp>
    </p:spTree>
    <p:extLst>
      <p:ext uri="{BB962C8B-B14F-4D97-AF65-F5344CB8AC3E}">
        <p14:creationId xmlns:p14="http://schemas.microsoft.com/office/powerpoint/2010/main" val="2631230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ubtitle 11">
            <a:extLst>
              <a:ext uri="{FF2B5EF4-FFF2-40B4-BE49-F238E27FC236}">
                <a16:creationId xmlns:a16="http://schemas.microsoft.com/office/drawing/2014/main" id="{1D800F6D-7C6D-6A4C-AFEF-43BF7F32DADA}"/>
              </a:ext>
            </a:extLst>
          </p:cNvPr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pPr algn="ctr"/>
            <a:r>
              <a:rPr lang="en-US" dirty="0"/>
              <a:t>Across Users, Services, and Data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B6FA910-42A0-FB47-A14F-D8E7759166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Tanzu Service Mesh Use Cases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EA21BF46-21F1-4458-A5C4-A5B5FBDA92B0}"/>
              </a:ext>
            </a:extLst>
          </p:cNvPr>
          <p:cNvGrpSpPr/>
          <p:nvPr/>
        </p:nvGrpSpPr>
        <p:grpSpPr>
          <a:xfrm>
            <a:off x="3588626" y="1429756"/>
            <a:ext cx="2385391" cy="4626833"/>
            <a:chOff x="3588626" y="1429756"/>
            <a:chExt cx="2385391" cy="4626833"/>
          </a:xfrm>
        </p:grpSpPr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41997E61-0227-C14F-8B98-1CD272117E04}"/>
                </a:ext>
              </a:extLst>
            </p:cNvPr>
            <p:cNvSpPr txBox="1"/>
            <p:nvPr/>
          </p:nvSpPr>
          <p:spPr>
            <a:xfrm>
              <a:off x="3825130" y="1429756"/>
              <a:ext cx="1912383" cy="215444"/>
            </a:xfrm>
            <a:prstGeom prst="rect">
              <a:avLst/>
            </a:prstGeom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i="0" u="none" strike="noStrike" kern="1200" cap="none" spc="100" normalizeH="0" baseline="0" noProof="0" dirty="0">
                  <a:ln>
                    <a:noFill/>
                  </a:ln>
                  <a:solidFill>
                    <a:schemeClr val="accent4"/>
                  </a:solidFill>
                  <a:effectLst/>
                  <a:uLnTx/>
                  <a:uFillTx/>
                  <a:latin typeface="Metropolis"/>
                  <a:ea typeface="+mn-ea"/>
                  <a:cs typeface="+mn-cs"/>
                </a:rPr>
                <a:t>Business Continuity</a:t>
              </a:r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E5C536C2-CD34-4340-ADE9-CEDF76F17CD5}"/>
                </a:ext>
              </a:extLst>
            </p:cNvPr>
            <p:cNvGrpSpPr/>
            <p:nvPr/>
          </p:nvGrpSpPr>
          <p:grpSpPr>
            <a:xfrm>
              <a:off x="3588626" y="1717719"/>
              <a:ext cx="2385391" cy="2057400"/>
              <a:chOff x="3559818" y="1717719"/>
              <a:chExt cx="2385391" cy="2057400"/>
            </a:xfrm>
          </p:grpSpPr>
          <p:grpSp>
            <p:nvGrpSpPr>
              <p:cNvPr id="102" name="Group 101">
                <a:extLst>
                  <a:ext uri="{FF2B5EF4-FFF2-40B4-BE49-F238E27FC236}">
                    <a16:creationId xmlns:a16="http://schemas.microsoft.com/office/drawing/2014/main" id="{873FB4BC-9EE1-4DF1-91EC-83F880A33183}"/>
                  </a:ext>
                </a:extLst>
              </p:cNvPr>
              <p:cNvGrpSpPr/>
              <p:nvPr/>
            </p:nvGrpSpPr>
            <p:grpSpPr>
              <a:xfrm>
                <a:off x="3559818" y="1717719"/>
                <a:ext cx="2385391" cy="2057400"/>
                <a:chOff x="800161" y="1737952"/>
                <a:chExt cx="2385391" cy="2097347"/>
              </a:xfrm>
            </p:grpSpPr>
            <p:sp>
              <p:nvSpPr>
                <p:cNvPr id="103" name="Rectangle 102">
                  <a:extLst>
                    <a:ext uri="{FF2B5EF4-FFF2-40B4-BE49-F238E27FC236}">
                      <a16:creationId xmlns:a16="http://schemas.microsoft.com/office/drawing/2014/main" id="{B61524B2-D6D2-4BAA-9AE5-584B4E7A912F}"/>
                    </a:ext>
                  </a:extLst>
                </p:cNvPr>
                <p:cNvSpPr/>
                <p:nvPr/>
              </p:nvSpPr>
              <p:spPr>
                <a:xfrm>
                  <a:off x="800161" y="1737952"/>
                  <a:ext cx="2385391" cy="2097347"/>
                </a:xfrm>
                <a:prstGeom prst="rect">
                  <a:avLst/>
                </a:prstGeom>
                <a:solidFill>
                  <a:schemeClr val="accent4"/>
                </a:solidFill>
                <a:ln w="25400">
                  <a:noFill/>
                  <a:miter lim="800000"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Aft>
                      <a:spcPts val="600"/>
                    </a:spcAft>
                  </a:pPr>
                  <a:endParaRPr lang="en-US" sz="1200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04" name="Freeform: Shape 103">
                  <a:extLst>
                    <a:ext uri="{FF2B5EF4-FFF2-40B4-BE49-F238E27FC236}">
                      <a16:creationId xmlns:a16="http://schemas.microsoft.com/office/drawing/2014/main" id="{467B6379-5785-4817-AD61-101D29DEB5A8}"/>
                    </a:ext>
                  </a:extLst>
                </p:cNvPr>
                <p:cNvSpPr/>
                <p:nvPr/>
              </p:nvSpPr>
              <p:spPr>
                <a:xfrm>
                  <a:off x="800161" y="1737952"/>
                  <a:ext cx="2385391" cy="2097347"/>
                </a:xfrm>
                <a:custGeom>
                  <a:avLst/>
                  <a:gdLst>
                    <a:gd name="connsiteX0" fmla="*/ 2094054 w 2385391"/>
                    <a:gd name="connsiteY0" fmla="*/ 0 h 2097347"/>
                    <a:gd name="connsiteX1" fmla="*/ 2385391 w 2385391"/>
                    <a:gd name="connsiteY1" fmla="*/ 0 h 2097347"/>
                    <a:gd name="connsiteX2" fmla="*/ 2385391 w 2385391"/>
                    <a:gd name="connsiteY2" fmla="*/ 2097347 h 2097347"/>
                    <a:gd name="connsiteX3" fmla="*/ 0 w 2385391"/>
                    <a:gd name="connsiteY3" fmla="*/ 2097347 h 20973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385391" h="2097347">
                      <a:moveTo>
                        <a:pt x="2094054" y="0"/>
                      </a:moveTo>
                      <a:lnTo>
                        <a:pt x="2385391" y="0"/>
                      </a:lnTo>
                      <a:lnTo>
                        <a:pt x="2385391" y="2097347"/>
                      </a:lnTo>
                      <a:lnTo>
                        <a:pt x="0" y="2097347"/>
                      </a:lnTo>
                      <a:close/>
                    </a:path>
                  </a:pathLst>
                </a:custGeom>
                <a:gradFill>
                  <a:gsLst>
                    <a:gs pos="38000">
                      <a:schemeClr val="accent4">
                        <a:lumMod val="75000"/>
                        <a:alpha val="0"/>
                      </a:schemeClr>
                    </a:gs>
                    <a:gs pos="100000">
                      <a:schemeClr val="accent4">
                        <a:lumMod val="75000"/>
                        <a:alpha val="65000"/>
                      </a:schemeClr>
                    </a:gs>
                  </a:gsLst>
                  <a:lin ang="8100000" scaled="0"/>
                </a:gradFill>
                <a:ln w="25400">
                  <a:noFill/>
                  <a:miter lim="800000"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Aft>
                      <a:spcPts val="600"/>
                    </a:spcAft>
                  </a:pPr>
                  <a:endParaRPr lang="en-US" sz="1200" dirty="0">
                    <a:solidFill>
                      <a:schemeClr val="bg1"/>
                    </a:solidFill>
                  </a:endParaRPr>
                </a:p>
              </p:txBody>
            </p:sp>
          </p:grpSp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55740E1B-5519-6F49-9CC8-FBACA779143D}"/>
                  </a:ext>
                </a:extLst>
              </p:cNvPr>
              <p:cNvSpPr txBox="1"/>
              <p:nvPr/>
            </p:nvSpPr>
            <p:spPr>
              <a:xfrm>
                <a:off x="3755930" y="3283760"/>
                <a:ext cx="1993167" cy="369332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Metropolis"/>
                    <a:ea typeface="+mn-ea"/>
                    <a:cs typeface="+mn-cs"/>
                  </a:rPr>
                  <a:t>High Availability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Metropolis"/>
                    <a:ea typeface="+mn-ea"/>
                    <a:cs typeface="+mn-cs"/>
                  </a:rPr>
                  <a:t>and Failover</a:t>
                </a:r>
              </a:p>
            </p:txBody>
          </p:sp>
          <p:grpSp>
            <p:nvGrpSpPr>
              <p:cNvPr id="34" name="Group 33">
                <a:extLst>
                  <a:ext uri="{FF2B5EF4-FFF2-40B4-BE49-F238E27FC236}">
                    <a16:creationId xmlns:a16="http://schemas.microsoft.com/office/drawing/2014/main" id="{56D64E5C-1A2D-4D73-8CFB-4D01D6B41E29}"/>
                  </a:ext>
                </a:extLst>
              </p:cNvPr>
              <p:cNvGrpSpPr/>
              <p:nvPr/>
            </p:nvGrpSpPr>
            <p:grpSpPr>
              <a:xfrm>
                <a:off x="4007661" y="1943100"/>
                <a:ext cx="1494068" cy="968218"/>
                <a:chOff x="3900046" y="1975154"/>
                <a:chExt cx="1709298" cy="1107696"/>
              </a:xfrm>
            </p:grpSpPr>
            <p:sp>
              <p:nvSpPr>
                <p:cNvPr id="123" name="Hexagon 122">
                  <a:extLst>
                    <a:ext uri="{FF2B5EF4-FFF2-40B4-BE49-F238E27FC236}">
                      <a16:creationId xmlns:a16="http://schemas.microsoft.com/office/drawing/2014/main" id="{E6AEFA90-F242-7046-A55B-4C36E4E37144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4149489" y="2644848"/>
                  <a:ext cx="155448" cy="138197"/>
                </a:xfrm>
                <a:prstGeom prst="hexagon">
                  <a:avLst/>
                </a:prstGeom>
                <a:noFill/>
                <a:ln w="12700">
                  <a:solidFill>
                    <a:schemeClr val="bg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Metropolis"/>
                    <a:ea typeface="+mn-ea"/>
                    <a:cs typeface="+mn-cs"/>
                  </a:endParaRPr>
                </a:p>
              </p:txBody>
            </p:sp>
            <p:sp>
              <p:nvSpPr>
                <p:cNvPr id="124" name="Hexagon 123">
                  <a:extLst>
                    <a:ext uri="{FF2B5EF4-FFF2-40B4-BE49-F238E27FC236}">
                      <a16:creationId xmlns:a16="http://schemas.microsoft.com/office/drawing/2014/main" id="{B9C6AAE1-A393-3B49-96A2-326C1F13D0F5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3994041" y="2733316"/>
                  <a:ext cx="155448" cy="138197"/>
                </a:xfrm>
                <a:prstGeom prst="hexagon">
                  <a:avLst/>
                </a:prstGeom>
                <a:noFill/>
                <a:ln w="12700">
                  <a:solidFill>
                    <a:schemeClr val="bg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Metropolis"/>
                    <a:ea typeface="+mn-ea"/>
                    <a:cs typeface="+mn-cs"/>
                  </a:endParaRPr>
                </a:p>
              </p:txBody>
            </p:sp>
            <p:sp>
              <p:nvSpPr>
                <p:cNvPr id="125" name="Hexagon 124">
                  <a:extLst>
                    <a:ext uri="{FF2B5EF4-FFF2-40B4-BE49-F238E27FC236}">
                      <a16:creationId xmlns:a16="http://schemas.microsoft.com/office/drawing/2014/main" id="{88D1819B-0E79-5A43-9051-E511012A89CA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4153711" y="2814236"/>
                  <a:ext cx="155448" cy="138197"/>
                </a:xfrm>
                <a:prstGeom prst="hexagon">
                  <a:avLst/>
                </a:prstGeom>
                <a:noFill/>
                <a:ln w="12700">
                  <a:solidFill>
                    <a:schemeClr val="bg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Metropolis"/>
                    <a:ea typeface="+mn-ea"/>
                    <a:cs typeface="+mn-cs"/>
                  </a:endParaRPr>
                </a:p>
              </p:txBody>
            </p:sp>
            <p:sp>
              <p:nvSpPr>
                <p:cNvPr id="130" name="Oval 129">
                  <a:extLst>
                    <a:ext uri="{FF2B5EF4-FFF2-40B4-BE49-F238E27FC236}">
                      <a16:creationId xmlns:a16="http://schemas.microsoft.com/office/drawing/2014/main" id="{000C4B86-ECA7-4449-9C8A-DEB81AD7401F}"/>
                    </a:ext>
                  </a:extLst>
                </p:cNvPr>
                <p:cNvSpPr/>
                <p:nvPr/>
              </p:nvSpPr>
              <p:spPr>
                <a:xfrm>
                  <a:off x="4567510" y="1975154"/>
                  <a:ext cx="370005" cy="367525"/>
                </a:xfrm>
                <a:prstGeom prst="ellipse">
                  <a:avLst/>
                </a:prstGeom>
                <a:ln w="19050">
                  <a:solidFill>
                    <a:schemeClr val="bg1"/>
                  </a:solidFill>
                  <a:miter lim="800000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ot="0" spcFirstLastPara="0" vertOverflow="overflow" horzOverflow="overflow" vert="horz" wrap="non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Metropolis"/>
                    <a:ea typeface="+mn-ea"/>
                    <a:cs typeface="+mn-cs"/>
                  </a:endParaRPr>
                </a:p>
              </p:txBody>
            </p:sp>
            <p:cxnSp>
              <p:nvCxnSpPr>
                <p:cNvPr id="131" name="Straight Connector 130">
                  <a:extLst>
                    <a:ext uri="{FF2B5EF4-FFF2-40B4-BE49-F238E27FC236}">
                      <a16:creationId xmlns:a16="http://schemas.microsoft.com/office/drawing/2014/main" id="{3384255F-B95F-B947-9DCE-328D87B6C091}"/>
                    </a:ext>
                  </a:extLst>
                </p:cNvPr>
                <p:cNvCxnSpPr>
                  <a:cxnSpLocks/>
                  <a:stCxn id="130" idx="3"/>
                  <a:endCxn id="123" idx="5"/>
                </p:cNvCxnSpPr>
                <p:nvPr/>
              </p:nvCxnSpPr>
              <p:spPr bwMode="gray">
                <a:xfrm flipH="1">
                  <a:off x="4270388" y="2288856"/>
                  <a:ext cx="351308" cy="355992"/>
                </a:xfrm>
                <a:prstGeom prst="line">
                  <a:avLst/>
                </a:prstGeom>
                <a:ln w="19050">
                  <a:solidFill>
                    <a:schemeClr val="bg1"/>
                  </a:solidFill>
                  <a:miter lim="800000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2" name="Straight Connector 131">
                  <a:extLst>
                    <a:ext uri="{FF2B5EF4-FFF2-40B4-BE49-F238E27FC236}">
                      <a16:creationId xmlns:a16="http://schemas.microsoft.com/office/drawing/2014/main" id="{ECC5C16C-A92F-1443-B0DC-8AED81CE21B8}"/>
                    </a:ext>
                  </a:extLst>
                </p:cNvPr>
                <p:cNvCxnSpPr>
                  <a:cxnSpLocks/>
                  <a:stCxn id="130" idx="5"/>
                  <a:endCxn id="134" idx="4"/>
                </p:cNvCxnSpPr>
                <p:nvPr/>
              </p:nvCxnSpPr>
              <p:spPr bwMode="gray">
                <a:xfrm>
                  <a:off x="4883329" y="2288856"/>
                  <a:ext cx="441536" cy="355992"/>
                </a:xfrm>
                <a:prstGeom prst="line">
                  <a:avLst/>
                </a:prstGeom>
                <a:ln w="19050">
                  <a:solidFill>
                    <a:schemeClr val="bg1"/>
                  </a:solidFill>
                  <a:miter lim="800000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34" name="Hexagon 133">
                  <a:extLst>
                    <a:ext uri="{FF2B5EF4-FFF2-40B4-BE49-F238E27FC236}">
                      <a16:creationId xmlns:a16="http://schemas.microsoft.com/office/drawing/2014/main" id="{0192B894-1EB2-F044-B150-C53AC1FF8CDF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5290316" y="2644848"/>
                  <a:ext cx="155448" cy="138197"/>
                </a:xfrm>
                <a:prstGeom prst="hexagon">
                  <a:avLst/>
                </a:prstGeom>
                <a:noFill/>
                <a:ln w="12700">
                  <a:solidFill>
                    <a:schemeClr val="bg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Metropolis"/>
                    <a:ea typeface="+mn-ea"/>
                    <a:cs typeface="+mn-cs"/>
                  </a:endParaRPr>
                </a:p>
              </p:txBody>
            </p:sp>
            <p:sp>
              <p:nvSpPr>
                <p:cNvPr id="135" name="Hexagon 134">
                  <a:extLst>
                    <a:ext uri="{FF2B5EF4-FFF2-40B4-BE49-F238E27FC236}">
                      <a16:creationId xmlns:a16="http://schemas.microsoft.com/office/drawing/2014/main" id="{0C408797-A949-D746-8943-6FDAD329A74C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5134868" y="2733316"/>
                  <a:ext cx="155448" cy="138197"/>
                </a:xfrm>
                <a:prstGeom prst="hexagon">
                  <a:avLst/>
                </a:prstGeom>
                <a:noFill/>
                <a:ln w="12700">
                  <a:solidFill>
                    <a:schemeClr val="bg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Metropolis"/>
                    <a:ea typeface="+mn-ea"/>
                    <a:cs typeface="+mn-cs"/>
                  </a:endParaRPr>
                </a:p>
              </p:txBody>
            </p:sp>
            <p:sp>
              <p:nvSpPr>
                <p:cNvPr id="136" name="Hexagon 135">
                  <a:extLst>
                    <a:ext uri="{FF2B5EF4-FFF2-40B4-BE49-F238E27FC236}">
                      <a16:creationId xmlns:a16="http://schemas.microsoft.com/office/drawing/2014/main" id="{1788BABF-B24E-8B41-995B-517E39A9EA50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5294538" y="2814236"/>
                  <a:ext cx="155448" cy="138197"/>
                </a:xfrm>
                <a:prstGeom prst="hexagon">
                  <a:avLst/>
                </a:prstGeom>
                <a:noFill/>
                <a:ln w="12700">
                  <a:solidFill>
                    <a:schemeClr val="bg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Metropolis"/>
                    <a:ea typeface="+mn-ea"/>
                    <a:cs typeface="+mn-cs"/>
                  </a:endParaRPr>
                </a:p>
              </p:txBody>
            </p:sp>
            <p:sp>
              <p:nvSpPr>
                <p:cNvPr id="139" name="Rectangle 138">
                  <a:extLst>
                    <a:ext uri="{FF2B5EF4-FFF2-40B4-BE49-F238E27FC236}">
                      <a16:creationId xmlns:a16="http://schemas.microsoft.com/office/drawing/2014/main" id="{8E79A840-5E4E-9F45-99F4-D04553C4EC68}"/>
                    </a:ext>
                  </a:extLst>
                </p:cNvPr>
                <p:cNvSpPr/>
                <p:nvPr/>
              </p:nvSpPr>
              <p:spPr>
                <a:xfrm>
                  <a:off x="3900046" y="2523118"/>
                  <a:ext cx="577464" cy="559732"/>
                </a:xfrm>
                <a:prstGeom prst="rect">
                  <a:avLst/>
                </a:prstGeom>
                <a:noFill/>
                <a:ln w="19050">
                  <a:solidFill>
                    <a:schemeClr val="bg1"/>
                  </a:solidFill>
                  <a:prstDash val="sysDash"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16" tIns="45708" rIns="91416" bIns="91416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717074"/>
                    </a:solidFill>
                    <a:effectLst/>
                    <a:uLnTx/>
                    <a:uFillTx/>
                    <a:latin typeface="Metropolis"/>
                    <a:ea typeface="+mn-ea"/>
                    <a:cs typeface="+mn-cs"/>
                  </a:endParaRPr>
                </a:p>
              </p:txBody>
            </p:sp>
            <p:sp>
              <p:nvSpPr>
                <p:cNvPr id="140" name="Rectangle 139">
                  <a:extLst>
                    <a:ext uri="{FF2B5EF4-FFF2-40B4-BE49-F238E27FC236}">
                      <a16:creationId xmlns:a16="http://schemas.microsoft.com/office/drawing/2014/main" id="{384CED29-329D-8F41-9136-B041CD542E45}"/>
                    </a:ext>
                  </a:extLst>
                </p:cNvPr>
                <p:cNvSpPr/>
                <p:nvPr/>
              </p:nvSpPr>
              <p:spPr>
                <a:xfrm>
                  <a:off x="5031880" y="2520388"/>
                  <a:ext cx="577464" cy="559732"/>
                </a:xfrm>
                <a:prstGeom prst="rect">
                  <a:avLst/>
                </a:prstGeom>
                <a:noFill/>
                <a:ln w="19050">
                  <a:solidFill>
                    <a:schemeClr val="bg1"/>
                  </a:solidFill>
                  <a:prstDash val="sysDash"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16" tIns="45708" rIns="91416" bIns="91416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717074"/>
                    </a:solidFill>
                    <a:effectLst/>
                    <a:uLnTx/>
                    <a:uFillTx/>
                    <a:latin typeface="Metropolis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21770D85-47C2-4140-8467-3C257A8BA2AE}"/>
                </a:ext>
              </a:extLst>
            </p:cNvPr>
            <p:cNvGrpSpPr/>
            <p:nvPr/>
          </p:nvGrpSpPr>
          <p:grpSpPr>
            <a:xfrm>
              <a:off x="3588626" y="3999189"/>
              <a:ext cx="2385391" cy="2057400"/>
              <a:chOff x="3559819" y="4119839"/>
              <a:chExt cx="2385391" cy="2057400"/>
            </a:xfrm>
          </p:grpSpPr>
          <p:grpSp>
            <p:nvGrpSpPr>
              <p:cNvPr id="112" name="Group 111">
                <a:extLst>
                  <a:ext uri="{FF2B5EF4-FFF2-40B4-BE49-F238E27FC236}">
                    <a16:creationId xmlns:a16="http://schemas.microsoft.com/office/drawing/2014/main" id="{407A5C7C-5DDA-421D-A446-373F0C86A9A6}"/>
                  </a:ext>
                </a:extLst>
              </p:cNvPr>
              <p:cNvGrpSpPr/>
              <p:nvPr/>
            </p:nvGrpSpPr>
            <p:grpSpPr>
              <a:xfrm>
                <a:off x="3559819" y="4119839"/>
                <a:ext cx="2385391" cy="2057400"/>
                <a:chOff x="800161" y="1737952"/>
                <a:chExt cx="2385391" cy="2097347"/>
              </a:xfrm>
            </p:grpSpPr>
            <p:sp>
              <p:nvSpPr>
                <p:cNvPr id="114" name="Rectangle 113">
                  <a:extLst>
                    <a:ext uri="{FF2B5EF4-FFF2-40B4-BE49-F238E27FC236}">
                      <a16:creationId xmlns:a16="http://schemas.microsoft.com/office/drawing/2014/main" id="{03D9D199-3E07-40E4-934C-22736E82C2BA}"/>
                    </a:ext>
                  </a:extLst>
                </p:cNvPr>
                <p:cNvSpPr/>
                <p:nvPr/>
              </p:nvSpPr>
              <p:spPr>
                <a:xfrm>
                  <a:off x="800161" y="1737952"/>
                  <a:ext cx="2385391" cy="2097347"/>
                </a:xfrm>
                <a:prstGeom prst="rect">
                  <a:avLst/>
                </a:prstGeom>
                <a:solidFill>
                  <a:schemeClr val="accent4"/>
                </a:solidFill>
                <a:ln w="25400">
                  <a:noFill/>
                  <a:miter lim="800000"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Aft>
                      <a:spcPts val="600"/>
                    </a:spcAft>
                  </a:pPr>
                  <a:endParaRPr lang="en-US" sz="1200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15" name="Freeform: Shape 114">
                  <a:extLst>
                    <a:ext uri="{FF2B5EF4-FFF2-40B4-BE49-F238E27FC236}">
                      <a16:creationId xmlns:a16="http://schemas.microsoft.com/office/drawing/2014/main" id="{31E336AA-078B-40C5-B35E-77E9C62371AA}"/>
                    </a:ext>
                  </a:extLst>
                </p:cNvPr>
                <p:cNvSpPr/>
                <p:nvPr/>
              </p:nvSpPr>
              <p:spPr>
                <a:xfrm>
                  <a:off x="800161" y="1737952"/>
                  <a:ext cx="2385391" cy="2097347"/>
                </a:xfrm>
                <a:custGeom>
                  <a:avLst/>
                  <a:gdLst>
                    <a:gd name="connsiteX0" fmla="*/ 2094054 w 2385391"/>
                    <a:gd name="connsiteY0" fmla="*/ 0 h 2097347"/>
                    <a:gd name="connsiteX1" fmla="*/ 2385391 w 2385391"/>
                    <a:gd name="connsiteY1" fmla="*/ 0 h 2097347"/>
                    <a:gd name="connsiteX2" fmla="*/ 2385391 w 2385391"/>
                    <a:gd name="connsiteY2" fmla="*/ 2097347 h 2097347"/>
                    <a:gd name="connsiteX3" fmla="*/ 0 w 2385391"/>
                    <a:gd name="connsiteY3" fmla="*/ 2097347 h 20973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385391" h="2097347">
                      <a:moveTo>
                        <a:pt x="2094054" y="0"/>
                      </a:moveTo>
                      <a:lnTo>
                        <a:pt x="2385391" y="0"/>
                      </a:lnTo>
                      <a:lnTo>
                        <a:pt x="2385391" y="2097347"/>
                      </a:lnTo>
                      <a:lnTo>
                        <a:pt x="0" y="2097347"/>
                      </a:lnTo>
                      <a:close/>
                    </a:path>
                  </a:pathLst>
                </a:custGeom>
                <a:gradFill>
                  <a:gsLst>
                    <a:gs pos="38000">
                      <a:schemeClr val="accent4">
                        <a:lumMod val="75000"/>
                        <a:alpha val="0"/>
                      </a:schemeClr>
                    </a:gs>
                    <a:gs pos="100000">
                      <a:schemeClr val="accent4">
                        <a:lumMod val="75000"/>
                        <a:alpha val="65000"/>
                      </a:schemeClr>
                    </a:gs>
                  </a:gsLst>
                  <a:lin ang="8100000" scaled="0"/>
                </a:gradFill>
                <a:ln w="25400">
                  <a:noFill/>
                  <a:miter lim="800000"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Aft>
                      <a:spcPts val="600"/>
                    </a:spcAft>
                  </a:pPr>
                  <a:endParaRPr lang="en-US" sz="1200" dirty="0">
                    <a:solidFill>
                      <a:schemeClr val="bg1"/>
                    </a:solidFill>
                  </a:endParaRPr>
                </a:p>
              </p:txBody>
            </p:sp>
          </p:grpSp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BFFE9CA2-B9BB-D347-A8EE-04EDFD1DC642}"/>
                  </a:ext>
                </a:extLst>
              </p:cNvPr>
              <p:cNvSpPr txBox="1"/>
              <p:nvPr/>
            </p:nvSpPr>
            <p:spPr>
              <a:xfrm>
                <a:off x="3671624" y="5683546"/>
                <a:ext cx="2161779" cy="369332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 kumimoji="0" sz="1400" i="0" u="none" strike="noStrike" cap="none" spc="0" normalizeH="0" baseline="0">
                    <a:ln>
                      <a:noFill/>
                    </a:ln>
                    <a:effectLst/>
                    <a:uLnTx/>
                    <a:uFillTx/>
                  </a:defRPr>
                </a:lvl1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Metropolis"/>
                    <a:ea typeface="+mn-ea"/>
                    <a:cs typeface="+mn-cs"/>
                  </a:rPr>
                  <a:t>App SLO Policies &amp; Intelligent Autoscaling</a:t>
                </a:r>
              </a:p>
            </p:txBody>
          </p:sp>
          <p:sp>
            <p:nvSpPr>
              <p:cNvPr id="151" name="Rectangle 150">
                <a:extLst>
                  <a:ext uri="{FF2B5EF4-FFF2-40B4-BE49-F238E27FC236}">
                    <a16:creationId xmlns:a16="http://schemas.microsoft.com/office/drawing/2014/main" id="{BE1DC157-1728-B343-9055-DB00CD771BEB}"/>
                  </a:ext>
                </a:extLst>
              </p:cNvPr>
              <p:cNvSpPr/>
              <p:nvPr/>
            </p:nvSpPr>
            <p:spPr>
              <a:xfrm>
                <a:off x="4109131" y="4451051"/>
                <a:ext cx="1246234" cy="1015710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prstDash val="sysDash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16" tIns="45708" rIns="91416" bIns="91416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717074"/>
                  </a:solidFill>
                  <a:effectLst/>
                  <a:uLnTx/>
                  <a:uFillTx/>
                  <a:latin typeface="Metropolis"/>
                  <a:ea typeface="+mn-ea"/>
                  <a:cs typeface="+mn-cs"/>
                </a:endParaRPr>
              </a:p>
            </p:txBody>
          </p:sp>
          <p:sp>
            <p:nvSpPr>
              <p:cNvPr id="153" name="Hexagon 152">
                <a:extLst>
                  <a:ext uri="{FF2B5EF4-FFF2-40B4-BE49-F238E27FC236}">
                    <a16:creationId xmlns:a16="http://schemas.microsoft.com/office/drawing/2014/main" id="{8C447CBE-FFA8-D547-8C2D-3FB3A3BAAD8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372959" y="4870340"/>
                <a:ext cx="205708" cy="182880"/>
              </a:xfrm>
              <a:prstGeom prst="hexagon">
                <a:avLst/>
              </a:prstGeom>
              <a:noFill/>
              <a:ln w="1270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opolis"/>
                  <a:ea typeface="+mn-ea"/>
                  <a:cs typeface="+mn-cs"/>
                </a:endParaRPr>
              </a:p>
            </p:txBody>
          </p:sp>
          <p:sp>
            <p:nvSpPr>
              <p:cNvPr id="154" name="Hexagon 153">
                <a:extLst>
                  <a:ext uri="{FF2B5EF4-FFF2-40B4-BE49-F238E27FC236}">
                    <a16:creationId xmlns:a16="http://schemas.microsoft.com/office/drawing/2014/main" id="{B6D8F514-AC39-9F42-96AC-1C019356F0B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577294" y="4991966"/>
                <a:ext cx="205708" cy="182880"/>
              </a:xfrm>
              <a:prstGeom prst="hexagon">
                <a:avLst/>
              </a:prstGeom>
              <a:noFill/>
              <a:ln w="1270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opolis"/>
                  <a:ea typeface="+mn-ea"/>
                  <a:cs typeface="+mn-cs"/>
                </a:endParaRPr>
              </a:p>
            </p:txBody>
          </p:sp>
          <p:sp>
            <p:nvSpPr>
              <p:cNvPr id="157" name="Hexagon 156">
                <a:extLst>
                  <a:ext uri="{FF2B5EF4-FFF2-40B4-BE49-F238E27FC236}">
                    <a16:creationId xmlns:a16="http://schemas.microsoft.com/office/drawing/2014/main" id="{C7EFE37D-3B0C-D54B-B68B-120305C3EFA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798470" y="4869125"/>
                <a:ext cx="205708" cy="182880"/>
              </a:xfrm>
              <a:prstGeom prst="hexagon">
                <a:avLst/>
              </a:prstGeom>
              <a:noFill/>
              <a:ln w="1270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opolis"/>
                  <a:ea typeface="+mn-ea"/>
                  <a:cs typeface="+mn-cs"/>
                </a:endParaRPr>
              </a:p>
            </p:txBody>
          </p:sp>
          <p:sp>
            <p:nvSpPr>
              <p:cNvPr id="158" name="Hexagon 157">
                <a:extLst>
                  <a:ext uri="{FF2B5EF4-FFF2-40B4-BE49-F238E27FC236}">
                    <a16:creationId xmlns:a16="http://schemas.microsoft.com/office/drawing/2014/main" id="{9D12119B-3FF6-B744-BAED-4DA7D179CBE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863613" y="4596170"/>
                <a:ext cx="205708" cy="182880"/>
              </a:xfrm>
              <a:prstGeom prst="hexagon">
                <a:avLst/>
              </a:prstGeom>
              <a:noFill/>
              <a:ln w="1270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opolis"/>
                  <a:ea typeface="+mn-ea"/>
                  <a:cs typeface="+mn-cs"/>
                </a:endParaRPr>
              </a:p>
            </p:txBody>
          </p:sp>
          <p:sp>
            <p:nvSpPr>
              <p:cNvPr id="159" name="Hexagon 158">
                <a:extLst>
                  <a:ext uri="{FF2B5EF4-FFF2-40B4-BE49-F238E27FC236}">
                    <a16:creationId xmlns:a16="http://schemas.microsoft.com/office/drawing/2014/main" id="{6FAA1BF8-AFF5-C948-9024-5B5A12953E2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869322" y="5130898"/>
                <a:ext cx="205708" cy="182880"/>
              </a:xfrm>
              <a:prstGeom prst="hexagon">
                <a:avLst/>
              </a:prstGeom>
              <a:noFill/>
              <a:ln w="1270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opolis"/>
                  <a:ea typeface="+mn-ea"/>
                  <a:cs typeface="+mn-cs"/>
                </a:endParaRPr>
              </a:p>
            </p:txBody>
          </p:sp>
          <p:sp>
            <p:nvSpPr>
              <p:cNvPr id="155" name="Hexagon 154">
                <a:extLst>
                  <a:ext uri="{FF2B5EF4-FFF2-40B4-BE49-F238E27FC236}">
                    <a16:creationId xmlns:a16="http://schemas.microsoft.com/office/drawing/2014/main" id="{C1C99AEC-6B01-7D46-B6D4-A08E50B1A99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797896" y="4638113"/>
                <a:ext cx="205708" cy="182880"/>
              </a:xfrm>
              <a:prstGeom prst="hexagon">
                <a:avLst/>
              </a:prstGeom>
              <a:solidFill>
                <a:schemeClr val="accent4"/>
              </a:solidFill>
              <a:ln w="1270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opolis"/>
                  <a:ea typeface="+mn-ea"/>
                  <a:cs typeface="+mn-cs"/>
                </a:endParaRPr>
              </a:p>
            </p:txBody>
          </p:sp>
          <p:sp>
            <p:nvSpPr>
              <p:cNvPr id="156" name="Hexagon 155">
                <a:extLst>
                  <a:ext uri="{FF2B5EF4-FFF2-40B4-BE49-F238E27FC236}">
                    <a16:creationId xmlns:a16="http://schemas.microsoft.com/office/drawing/2014/main" id="{AC80292C-A709-AA49-A568-DD9F624E122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795765" y="5092541"/>
                <a:ext cx="205708" cy="182880"/>
              </a:xfrm>
              <a:prstGeom prst="hexagon">
                <a:avLst/>
              </a:prstGeom>
              <a:solidFill>
                <a:schemeClr val="accent4"/>
              </a:solidFill>
              <a:ln w="1270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opolis"/>
                  <a:ea typeface="+mn-ea"/>
                  <a:cs typeface="+mn-cs"/>
                </a:endParaRPr>
              </a:p>
            </p:txBody>
          </p:sp>
          <p:sp>
            <p:nvSpPr>
              <p:cNvPr id="160" name="Hexagon 159">
                <a:extLst>
                  <a:ext uri="{FF2B5EF4-FFF2-40B4-BE49-F238E27FC236}">
                    <a16:creationId xmlns:a16="http://schemas.microsoft.com/office/drawing/2014/main" id="{15BF9C02-F72F-4C43-91A4-2E501B996D3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527104" y="4706761"/>
                <a:ext cx="205708" cy="182880"/>
              </a:xfrm>
              <a:prstGeom prst="hexagon">
                <a:avLst/>
              </a:prstGeom>
              <a:noFill/>
              <a:ln w="1270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opolis"/>
                  <a:ea typeface="+mn-ea"/>
                  <a:cs typeface="+mn-cs"/>
                </a:endParaRPr>
              </a:p>
            </p:txBody>
          </p:sp>
          <p:sp>
            <p:nvSpPr>
              <p:cNvPr id="152" name="Hexagon 151">
                <a:extLst>
                  <a:ext uri="{FF2B5EF4-FFF2-40B4-BE49-F238E27FC236}">
                    <a16:creationId xmlns:a16="http://schemas.microsoft.com/office/drawing/2014/main" id="{189DAED3-F6E0-2446-8F6A-D1919B3A52D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593336" y="4748519"/>
                <a:ext cx="205708" cy="182880"/>
              </a:xfrm>
              <a:prstGeom prst="hexagon">
                <a:avLst/>
              </a:prstGeom>
              <a:solidFill>
                <a:schemeClr val="accent4"/>
              </a:solidFill>
              <a:ln w="1270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opolis"/>
                  <a:ea typeface="+mn-ea"/>
                  <a:cs typeface="+mn-cs"/>
                </a:endParaRPr>
              </a:p>
            </p:txBody>
          </p:sp>
        </p:grp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9201FD1B-FDD9-5D46-B791-D4C394C40867}"/>
              </a:ext>
            </a:extLst>
          </p:cNvPr>
          <p:cNvSpPr txBox="1"/>
          <p:nvPr/>
        </p:nvSpPr>
        <p:spPr>
          <a:xfrm>
            <a:off x="7004590" y="1429756"/>
            <a:ext cx="791883" cy="215444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10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Metropolis"/>
                <a:ea typeface="+mn-ea"/>
                <a:cs typeface="+mn-cs"/>
              </a:rPr>
              <a:t>Security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8F9F90B7-BCAE-42FB-BAC4-7567EB6C7CD4}"/>
              </a:ext>
            </a:extLst>
          </p:cNvPr>
          <p:cNvGrpSpPr/>
          <p:nvPr/>
        </p:nvGrpSpPr>
        <p:grpSpPr>
          <a:xfrm>
            <a:off x="6207835" y="1717719"/>
            <a:ext cx="2385391" cy="2057400"/>
            <a:chOff x="6365154" y="1717719"/>
            <a:chExt cx="2385391" cy="2057400"/>
          </a:xfrm>
        </p:grpSpPr>
        <p:grpSp>
          <p:nvGrpSpPr>
            <p:cNvPr id="117" name="Group 116">
              <a:extLst>
                <a:ext uri="{FF2B5EF4-FFF2-40B4-BE49-F238E27FC236}">
                  <a16:creationId xmlns:a16="http://schemas.microsoft.com/office/drawing/2014/main" id="{E32CDFF5-EBAA-4F5E-93D3-3D1698F26400}"/>
                </a:ext>
              </a:extLst>
            </p:cNvPr>
            <p:cNvGrpSpPr/>
            <p:nvPr/>
          </p:nvGrpSpPr>
          <p:grpSpPr>
            <a:xfrm>
              <a:off x="6365154" y="1717719"/>
              <a:ext cx="2385391" cy="2057400"/>
              <a:chOff x="800161" y="1737952"/>
              <a:chExt cx="2385391" cy="2097347"/>
            </a:xfrm>
          </p:grpSpPr>
          <p:sp>
            <p:nvSpPr>
              <p:cNvPr id="119" name="Rectangle 118">
                <a:extLst>
                  <a:ext uri="{FF2B5EF4-FFF2-40B4-BE49-F238E27FC236}">
                    <a16:creationId xmlns:a16="http://schemas.microsoft.com/office/drawing/2014/main" id="{28F57EF4-EBF1-420B-B255-EEB4A0D6A73E}"/>
                  </a:ext>
                </a:extLst>
              </p:cNvPr>
              <p:cNvSpPr/>
              <p:nvPr/>
            </p:nvSpPr>
            <p:spPr>
              <a:xfrm>
                <a:off x="800161" y="1737952"/>
                <a:ext cx="2385391" cy="2097347"/>
              </a:xfrm>
              <a:prstGeom prst="rect">
                <a:avLst/>
              </a:prstGeom>
              <a:solidFill>
                <a:schemeClr val="accent5"/>
              </a:solidFill>
              <a:ln w="25400">
                <a:noFill/>
                <a:miter lim="800000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Aft>
                    <a:spcPts val="600"/>
                  </a:spcAft>
                </a:pPr>
                <a:endParaRPr lang="en-US" sz="12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F06AAE27-EB90-4618-9802-17D7E875AE61}"/>
                  </a:ext>
                </a:extLst>
              </p:cNvPr>
              <p:cNvSpPr/>
              <p:nvPr/>
            </p:nvSpPr>
            <p:spPr>
              <a:xfrm>
                <a:off x="800161" y="1737952"/>
                <a:ext cx="2385391" cy="2097347"/>
              </a:xfrm>
              <a:custGeom>
                <a:avLst/>
                <a:gdLst>
                  <a:gd name="connsiteX0" fmla="*/ 2094054 w 2385391"/>
                  <a:gd name="connsiteY0" fmla="*/ 0 h 2097347"/>
                  <a:gd name="connsiteX1" fmla="*/ 2385391 w 2385391"/>
                  <a:gd name="connsiteY1" fmla="*/ 0 h 2097347"/>
                  <a:gd name="connsiteX2" fmla="*/ 2385391 w 2385391"/>
                  <a:gd name="connsiteY2" fmla="*/ 2097347 h 2097347"/>
                  <a:gd name="connsiteX3" fmla="*/ 0 w 2385391"/>
                  <a:gd name="connsiteY3" fmla="*/ 2097347 h 2097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85391" h="2097347">
                    <a:moveTo>
                      <a:pt x="2094054" y="0"/>
                    </a:moveTo>
                    <a:lnTo>
                      <a:pt x="2385391" y="0"/>
                    </a:lnTo>
                    <a:lnTo>
                      <a:pt x="2385391" y="2097347"/>
                    </a:lnTo>
                    <a:lnTo>
                      <a:pt x="0" y="2097347"/>
                    </a:lnTo>
                    <a:close/>
                  </a:path>
                </a:pathLst>
              </a:custGeom>
              <a:gradFill>
                <a:gsLst>
                  <a:gs pos="38000">
                    <a:schemeClr val="accent5">
                      <a:lumMod val="75000"/>
                      <a:alpha val="0"/>
                    </a:schemeClr>
                  </a:gs>
                  <a:gs pos="100000">
                    <a:schemeClr val="accent5">
                      <a:lumMod val="75000"/>
                      <a:alpha val="74000"/>
                    </a:schemeClr>
                  </a:gs>
                </a:gsLst>
                <a:lin ang="8100000" scaled="0"/>
              </a:gradFill>
              <a:ln w="25400">
                <a:noFill/>
                <a:miter lim="800000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Aft>
                    <a:spcPts val="600"/>
                  </a:spcAft>
                </a:pPr>
                <a:endParaRPr lang="en-US" sz="120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D381E4EC-0196-A04C-8CF9-921FE0EEE07F}"/>
                </a:ext>
              </a:extLst>
            </p:cNvPr>
            <p:cNvSpPr txBox="1"/>
            <p:nvPr/>
          </p:nvSpPr>
          <p:spPr>
            <a:xfrm>
              <a:off x="6758584" y="3283760"/>
              <a:ext cx="1598531" cy="369332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etropolis"/>
                  <a:ea typeface="+mn-ea"/>
                  <a:cs typeface="+mn-cs"/>
                </a:rPr>
                <a:t>E2E Encryption for Compliance</a:t>
              </a:r>
            </a:p>
          </p:txBody>
        </p:sp>
        <p:pic>
          <p:nvPicPr>
            <p:cNvPr id="129" name="Graphic 128">
              <a:extLst>
                <a:ext uri="{FF2B5EF4-FFF2-40B4-BE49-F238E27FC236}">
                  <a16:creationId xmlns:a16="http://schemas.microsoft.com/office/drawing/2014/main" id="{9249FF4B-74F1-4786-85A8-BBC4ECB132E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640709" y="2340904"/>
              <a:ext cx="376529" cy="438003"/>
            </a:xfrm>
            <a:prstGeom prst="rect">
              <a:avLst/>
            </a:prstGeom>
          </p:spPr>
        </p:pic>
        <p:sp>
          <p:nvSpPr>
            <p:cNvPr id="172" name="Hexagon 171">
              <a:extLst>
                <a:ext uri="{FF2B5EF4-FFF2-40B4-BE49-F238E27FC236}">
                  <a16:creationId xmlns:a16="http://schemas.microsoft.com/office/drawing/2014/main" id="{8200553E-C6FB-E240-B4A4-00FFD16DF4E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404206" y="2423602"/>
              <a:ext cx="358293" cy="330946"/>
            </a:xfrm>
            <a:prstGeom prst="hexagon">
              <a:avLst/>
            </a:prstGeom>
            <a:noFill/>
            <a:ln w="15875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opolis"/>
                <a:ea typeface="+mn-ea"/>
                <a:cs typeface="+mn-cs"/>
              </a:endParaRPr>
            </a:p>
          </p:txBody>
        </p:sp>
        <p:cxnSp>
          <p:nvCxnSpPr>
            <p:cNvPr id="175" name="Straight Arrow Connector 174">
              <a:extLst>
                <a:ext uri="{FF2B5EF4-FFF2-40B4-BE49-F238E27FC236}">
                  <a16:creationId xmlns:a16="http://schemas.microsoft.com/office/drawing/2014/main" id="{281A252D-946A-F542-943C-C8BD91E406B5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811604" y="2589076"/>
              <a:ext cx="307027" cy="0"/>
            </a:xfrm>
            <a:prstGeom prst="straightConnector1">
              <a:avLst/>
            </a:prstGeom>
            <a:ln w="19050">
              <a:solidFill>
                <a:schemeClr val="bg1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E508BCC7-A864-41F3-881D-95FA5667F93B}"/>
                </a:ext>
              </a:extLst>
            </p:cNvPr>
            <p:cNvGrpSpPr/>
            <p:nvPr/>
          </p:nvGrpSpPr>
          <p:grpSpPr>
            <a:xfrm>
              <a:off x="7841932" y="2096241"/>
              <a:ext cx="222444" cy="317728"/>
              <a:chOff x="5881845" y="4396194"/>
              <a:chExt cx="403048" cy="575695"/>
            </a:xfrm>
          </p:grpSpPr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892CB6FC-8A04-4C95-9530-B225B5C7FE2D}"/>
                  </a:ext>
                </a:extLst>
              </p:cNvPr>
              <p:cNvSpPr/>
              <p:nvPr/>
            </p:nvSpPr>
            <p:spPr>
              <a:xfrm>
                <a:off x="5881845" y="4396194"/>
                <a:ext cx="403048" cy="575695"/>
              </a:xfrm>
              <a:custGeom>
                <a:avLst/>
                <a:gdLst>
                  <a:gd name="connsiteX0" fmla="*/ 316681 w 403048"/>
                  <a:gd name="connsiteY0" fmla="*/ 221632 h 575695"/>
                  <a:gd name="connsiteX1" fmla="*/ 316681 w 403048"/>
                  <a:gd name="connsiteY1" fmla="*/ 113562 h 575695"/>
                  <a:gd name="connsiteX2" fmla="*/ 210737 w 403048"/>
                  <a:gd name="connsiteY2" fmla="*/ 0 h 575695"/>
                  <a:gd name="connsiteX3" fmla="*/ 192312 w 403048"/>
                  <a:gd name="connsiteY3" fmla="*/ 0 h 575695"/>
                  <a:gd name="connsiteX4" fmla="*/ 86368 w 403048"/>
                  <a:gd name="connsiteY4" fmla="*/ 113562 h 575695"/>
                  <a:gd name="connsiteX5" fmla="*/ 86368 w 403048"/>
                  <a:gd name="connsiteY5" fmla="*/ 221632 h 575695"/>
                  <a:gd name="connsiteX6" fmla="*/ 0 w 403048"/>
                  <a:gd name="connsiteY6" fmla="*/ 381169 h 575695"/>
                  <a:gd name="connsiteX7" fmla="*/ 201524 w 403048"/>
                  <a:gd name="connsiteY7" fmla="*/ 575695 h 575695"/>
                  <a:gd name="connsiteX8" fmla="*/ 403049 w 403048"/>
                  <a:gd name="connsiteY8" fmla="*/ 381169 h 575695"/>
                  <a:gd name="connsiteX9" fmla="*/ 316681 w 403048"/>
                  <a:gd name="connsiteY9" fmla="*/ 221632 h 575695"/>
                  <a:gd name="connsiteX10" fmla="*/ 115157 w 403048"/>
                  <a:gd name="connsiteY10" fmla="*/ 113562 h 575695"/>
                  <a:gd name="connsiteX11" fmla="*/ 192312 w 403048"/>
                  <a:gd name="connsiteY11" fmla="*/ 28789 h 575695"/>
                  <a:gd name="connsiteX12" fmla="*/ 210737 w 403048"/>
                  <a:gd name="connsiteY12" fmla="*/ 28789 h 575695"/>
                  <a:gd name="connsiteX13" fmla="*/ 287892 w 403048"/>
                  <a:gd name="connsiteY13" fmla="*/ 113562 h 575695"/>
                  <a:gd name="connsiteX14" fmla="*/ 287892 w 403048"/>
                  <a:gd name="connsiteY14" fmla="*/ 205599 h 575695"/>
                  <a:gd name="connsiteX15" fmla="*/ 201524 w 403048"/>
                  <a:gd name="connsiteY15" fmla="*/ 186643 h 575695"/>
                  <a:gd name="connsiteX16" fmla="*/ 115157 w 403048"/>
                  <a:gd name="connsiteY16" fmla="*/ 205599 h 575695"/>
                  <a:gd name="connsiteX17" fmla="*/ 115157 w 403048"/>
                  <a:gd name="connsiteY17" fmla="*/ 113562 h 575695"/>
                  <a:gd name="connsiteX18" fmla="*/ 201524 w 403048"/>
                  <a:gd name="connsiteY18" fmla="*/ 546995 h 575695"/>
                  <a:gd name="connsiteX19" fmla="*/ 28789 w 403048"/>
                  <a:gd name="connsiteY19" fmla="*/ 381257 h 575695"/>
                  <a:gd name="connsiteX20" fmla="*/ 201524 w 403048"/>
                  <a:gd name="connsiteY20" fmla="*/ 215520 h 575695"/>
                  <a:gd name="connsiteX21" fmla="*/ 374259 w 403048"/>
                  <a:gd name="connsiteY21" fmla="*/ 381257 h 575695"/>
                  <a:gd name="connsiteX22" fmla="*/ 201524 w 403048"/>
                  <a:gd name="connsiteY22" fmla="*/ 546995 h 575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03048" h="575695">
                    <a:moveTo>
                      <a:pt x="316681" y="221632"/>
                    </a:moveTo>
                    <a:lnTo>
                      <a:pt x="316681" y="113562"/>
                    </a:lnTo>
                    <a:cubicBezTo>
                      <a:pt x="316681" y="50935"/>
                      <a:pt x="269112" y="0"/>
                      <a:pt x="210737" y="0"/>
                    </a:cubicBezTo>
                    <a:lnTo>
                      <a:pt x="192312" y="0"/>
                    </a:lnTo>
                    <a:cubicBezTo>
                      <a:pt x="133936" y="0"/>
                      <a:pt x="86368" y="50935"/>
                      <a:pt x="86368" y="113562"/>
                    </a:cubicBezTo>
                    <a:lnTo>
                      <a:pt x="86368" y="221632"/>
                    </a:lnTo>
                    <a:cubicBezTo>
                      <a:pt x="34193" y="256800"/>
                      <a:pt x="0" y="315087"/>
                      <a:pt x="0" y="381169"/>
                    </a:cubicBezTo>
                    <a:cubicBezTo>
                      <a:pt x="0" y="488619"/>
                      <a:pt x="90265" y="575695"/>
                      <a:pt x="201524" y="575695"/>
                    </a:cubicBezTo>
                    <a:cubicBezTo>
                      <a:pt x="312783" y="575695"/>
                      <a:pt x="403049" y="488619"/>
                      <a:pt x="403049" y="381169"/>
                    </a:cubicBezTo>
                    <a:cubicBezTo>
                      <a:pt x="403049" y="315087"/>
                      <a:pt x="368856" y="256800"/>
                      <a:pt x="316681" y="221632"/>
                    </a:cubicBezTo>
                    <a:close/>
                    <a:moveTo>
                      <a:pt x="115157" y="113562"/>
                    </a:moveTo>
                    <a:cubicBezTo>
                      <a:pt x="115157" y="66791"/>
                      <a:pt x="149792" y="28789"/>
                      <a:pt x="192312" y="28789"/>
                    </a:cubicBezTo>
                    <a:lnTo>
                      <a:pt x="210737" y="28789"/>
                    </a:lnTo>
                    <a:cubicBezTo>
                      <a:pt x="253256" y="28789"/>
                      <a:pt x="287892" y="66791"/>
                      <a:pt x="287892" y="113562"/>
                    </a:cubicBezTo>
                    <a:lnTo>
                      <a:pt x="287892" y="205599"/>
                    </a:lnTo>
                    <a:cubicBezTo>
                      <a:pt x="261672" y="193552"/>
                      <a:pt x="232440" y="186643"/>
                      <a:pt x="201524" y="186643"/>
                    </a:cubicBezTo>
                    <a:cubicBezTo>
                      <a:pt x="170609" y="186643"/>
                      <a:pt x="141377" y="193552"/>
                      <a:pt x="115157" y="205599"/>
                    </a:cubicBezTo>
                    <a:lnTo>
                      <a:pt x="115157" y="113562"/>
                    </a:lnTo>
                    <a:close/>
                    <a:moveTo>
                      <a:pt x="201524" y="546995"/>
                    </a:moveTo>
                    <a:cubicBezTo>
                      <a:pt x="106299" y="546995"/>
                      <a:pt x="28789" y="472586"/>
                      <a:pt x="28789" y="381257"/>
                    </a:cubicBezTo>
                    <a:cubicBezTo>
                      <a:pt x="28789" y="289841"/>
                      <a:pt x="106299" y="215520"/>
                      <a:pt x="201524" y="215520"/>
                    </a:cubicBezTo>
                    <a:cubicBezTo>
                      <a:pt x="296750" y="215520"/>
                      <a:pt x="374259" y="289929"/>
                      <a:pt x="374259" y="381257"/>
                    </a:cubicBezTo>
                    <a:cubicBezTo>
                      <a:pt x="374259" y="472586"/>
                      <a:pt x="296839" y="546995"/>
                      <a:pt x="201524" y="546995"/>
                    </a:cubicBezTo>
                    <a:close/>
                  </a:path>
                </a:pathLst>
              </a:custGeom>
              <a:solidFill>
                <a:schemeClr val="bg1"/>
              </a:solidFill>
              <a:ln w="87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62" name="Freeform: Shape 161">
                <a:extLst>
                  <a:ext uri="{FF2B5EF4-FFF2-40B4-BE49-F238E27FC236}">
                    <a16:creationId xmlns:a16="http://schemas.microsoft.com/office/drawing/2014/main" id="{CA337EC3-7776-4694-9CE3-3136B2A6E777}"/>
                  </a:ext>
                </a:extLst>
              </p:cNvPr>
              <p:cNvSpPr/>
              <p:nvPr/>
            </p:nvSpPr>
            <p:spPr>
              <a:xfrm>
                <a:off x="6050240" y="4726694"/>
                <a:ext cx="66259" cy="101337"/>
              </a:xfrm>
              <a:custGeom>
                <a:avLst/>
                <a:gdLst>
                  <a:gd name="connsiteX0" fmla="*/ 33130 w 66259"/>
                  <a:gd name="connsiteY0" fmla="*/ 0 h 101337"/>
                  <a:gd name="connsiteX1" fmla="*/ 0 w 66259"/>
                  <a:gd name="connsiteY1" fmla="*/ 31978 h 101337"/>
                  <a:gd name="connsiteX2" fmla="*/ 16565 w 66259"/>
                  <a:gd name="connsiteY2" fmla="*/ 59616 h 101337"/>
                  <a:gd name="connsiteX3" fmla="*/ 16565 w 66259"/>
                  <a:gd name="connsiteY3" fmla="*/ 92834 h 101337"/>
                  <a:gd name="connsiteX4" fmla="*/ 25423 w 66259"/>
                  <a:gd name="connsiteY4" fmla="*/ 101338 h 101337"/>
                  <a:gd name="connsiteX5" fmla="*/ 40836 w 66259"/>
                  <a:gd name="connsiteY5" fmla="*/ 101338 h 101337"/>
                  <a:gd name="connsiteX6" fmla="*/ 49695 w 66259"/>
                  <a:gd name="connsiteY6" fmla="*/ 92834 h 101337"/>
                  <a:gd name="connsiteX7" fmla="*/ 49695 w 66259"/>
                  <a:gd name="connsiteY7" fmla="*/ 59616 h 101337"/>
                  <a:gd name="connsiteX8" fmla="*/ 66259 w 66259"/>
                  <a:gd name="connsiteY8" fmla="*/ 31978 h 101337"/>
                  <a:gd name="connsiteX9" fmla="*/ 33130 w 66259"/>
                  <a:gd name="connsiteY9" fmla="*/ 0 h 101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6259" h="101337">
                    <a:moveTo>
                      <a:pt x="33130" y="0"/>
                    </a:moveTo>
                    <a:cubicBezTo>
                      <a:pt x="14882" y="0"/>
                      <a:pt x="0" y="14350"/>
                      <a:pt x="0" y="31978"/>
                    </a:cubicBezTo>
                    <a:cubicBezTo>
                      <a:pt x="0" y="43848"/>
                      <a:pt x="6644" y="54124"/>
                      <a:pt x="16565" y="59616"/>
                    </a:cubicBezTo>
                    <a:lnTo>
                      <a:pt x="16565" y="92834"/>
                    </a:lnTo>
                    <a:cubicBezTo>
                      <a:pt x="16565" y="97529"/>
                      <a:pt x="20551" y="101338"/>
                      <a:pt x="25423" y="101338"/>
                    </a:cubicBezTo>
                    <a:lnTo>
                      <a:pt x="40836" y="101338"/>
                    </a:lnTo>
                    <a:cubicBezTo>
                      <a:pt x="45708" y="101338"/>
                      <a:pt x="49695" y="97529"/>
                      <a:pt x="49695" y="92834"/>
                    </a:cubicBezTo>
                    <a:lnTo>
                      <a:pt x="49695" y="59616"/>
                    </a:lnTo>
                    <a:cubicBezTo>
                      <a:pt x="59616" y="54124"/>
                      <a:pt x="66259" y="43760"/>
                      <a:pt x="66259" y="31978"/>
                    </a:cubicBezTo>
                    <a:cubicBezTo>
                      <a:pt x="66259" y="14350"/>
                      <a:pt x="51466" y="0"/>
                      <a:pt x="3313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87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  <p:cxnSp>
          <p:nvCxnSpPr>
            <p:cNvPr id="166" name="Straight Arrow Connector 165">
              <a:extLst>
                <a:ext uri="{FF2B5EF4-FFF2-40B4-BE49-F238E27FC236}">
                  <a16:creationId xmlns:a16="http://schemas.microsoft.com/office/drawing/2014/main" id="{207582D2-F283-4D21-B3AC-87D7F7C7EFA1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025777" y="2589076"/>
              <a:ext cx="307027" cy="0"/>
            </a:xfrm>
            <a:prstGeom prst="straightConnector1">
              <a:avLst/>
            </a:prstGeom>
            <a:ln w="19050">
              <a:solidFill>
                <a:schemeClr val="bg1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A28F885F-3AB6-4ACE-B2A2-E548BDC0DC5A}"/>
              </a:ext>
            </a:extLst>
          </p:cNvPr>
          <p:cNvGrpSpPr/>
          <p:nvPr/>
        </p:nvGrpSpPr>
        <p:grpSpPr>
          <a:xfrm>
            <a:off x="6207835" y="3999189"/>
            <a:ext cx="2385391" cy="2057400"/>
            <a:chOff x="6365154" y="4119839"/>
            <a:chExt cx="2385391" cy="2057400"/>
          </a:xfrm>
        </p:grpSpPr>
        <p:grpSp>
          <p:nvGrpSpPr>
            <p:cNvPr id="126" name="Group 125">
              <a:extLst>
                <a:ext uri="{FF2B5EF4-FFF2-40B4-BE49-F238E27FC236}">
                  <a16:creationId xmlns:a16="http://schemas.microsoft.com/office/drawing/2014/main" id="{2EEC99C6-FC37-4755-8481-593B1D6A7896}"/>
                </a:ext>
              </a:extLst>
            </p:cNvPr>
            <p:cNvGrpSpPr/>
            <p:nvPr/>
          </p:nvGrpSpPr>
          <p:grpSpPr>
            <a:xfrm>
              <a:off x="6365154" y="4119839"/>
              <a:ext cx="2385391" cy="2057400"/>
              <a:chOff x="800161" y="1737952"/>
              <a:chExt cx="2385391" cy="2097347"/>
            </a:xfrm>
          </p:grpSpPr>
          <p:sp>
            <p:nvSpPr>
              <p:cNvPr id="127" name="Rectangle 126">
                <a:extLst>
                  <a:ext uri="{FF2B5EF4-FFF2-40B4-BE49-F238E27FC236}">
                    <a16:creationId xmlns:a16="http://schemas.microsoft.com/office/drawing/2014/main" id="{06B3F682-A424-406C-B16C-1441B52AEBA1}"/>
                  </a:ext>
                </a:extLst>
              </p:cNvPr>
              <p:cNvSpPr/>
              <p:nvPr/>
            </p:nvSpPr>
            <p:spPr>
              <a:xfrm>
                <a:off x="800161" y="1737952"/>
                <a:ext cx="2385391" cy="2097347"/>
              </a:xfrm>
              <a:prstGeom prst="rect">
                <a:avLst/>
              </a:prstGeom>
              <a:solidFill>
                <a:schemeClr val="accent5"/>
              </a:solidFill>
              <a:ln w="25400">
                <a:noFill/>
                <a:miter lim="800000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Aft>
                    <a:spcPts val="600"/>
                  </a:spcAft>
                </a:pPr>
                <a:endParaRPr lang="en-US" sz="12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0403E2BE-72EF-4ADF-A637-74C45025441C}"/>
                  </a:ext>
                </a:extLst>
              </p:cNvPr>
              <p:cNvSpPr/>
              <p:nvPr/>
            </p:nvSpPr>
            <p:spPr>
              <a:xfrm>
                <a:off x="800161" y="1737952"/>
                <a:ext cx="2385391" cy="2097347"/>
              </a:xfrm>
              <a:custGeom>
                <a:avLst/>
                <a:gdLst>
                  <a:gd name="connsiteX0" fmla="*/ 2094054 w 2385391"/>
                  <a:gd name="connsiteY0" fmla="*/ 0 h 2097347"/>
                  <a:gd name="connsiteX1" fmla="*/ 2385391 w 2385391"/>
                  <a:gd name="connsiteY1" fmla="*/ 0 h 2097347"/>
                  <a:gd name="connsiteX2" fmla="*/ 2385391 w 2385391"/>
                  <a:gd name="connsiteY2" fmla="*/ 2097347 h 2097347"/>
                  <a:gd name="connsiteX3" fmla="*/ 0 w 2385391"/>
                  <a:gd name="connsiteY3" fmla="*/ 2097347 h 2097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85391" h="2097347">
                    <a:moveTo>
                      <a:pt x="2094054" y="0"/>
                    </a:moveTo>
                    <a:lnTo>
                      <a:pt x="2385391" y="0"/>
                    </a:lnTo>
                    <a:lnTo>
                      <a:pt x="2385391" y="2097347"/>
                    </a:lnTo>
                    <a:lnTo>
                      <a:pt x="0" y="2097347"/>
                    </a:lnTo>
                    <a:close/>
                  </a:path>
                </a:pathLst>
              </a:custGeom>
              <a:gradFill>
                <a:gsLst>
                  <a:gs pos="38000">
                    <a:schemeClr val="accent5">
                      <a:lumMod val="75000"/>
                      <a:alpha val="0"/>
                    </a:schemeClr>
                  </a:gs>
                  <a:gs pos="100000">
                    <a:schemeClr val="accent5">
                      <a:lumMod val="75000"/>
                      <a:alpha val="74000"/>
                    </a:schemeClr>
                  </a:gs>
                </a:gsLst>
                <a:lin ang="8100000" scaled="0"/>
              </a:gradFill>
              <a:ln w="25400">
                <a:noFill/>
                <a:miter lim="800000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Aft>
                    <a:spcPts val="600"/>
                  </a:spcAft>
                </a:pPr>
                <a:endParaRPr lang="en-US" sz="120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8129898D-1F6C-A044-9A4C-34263B070AC6}"/>
                </a:ext>
              </a:extLst>
            </p:cNvPr>
            <p:cNvSpPr txBox="1"/>
            <p:nvPr/>
          </p:nvSpPr>
          <p:spPr>
            <a:xfrm>
              <a:off x="6712849" y="5681824"/>
              <a:ext cx="1818403" cy="369332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lvl="0" algn="ctr">
                <a:spcAft>
                  <a:spcPts val="600"/>
                </a:spcAft>
                <a:defRPr/>
              </a:pPr>
              <a:r>
                <a:rPr lang="en-US" sz="1200" b="1" dirty="0">
                  <a:solidFill>
                    <a:schemeClr val="bg1"/>
                  </a:solidFill>
                </a:rPr>
                <a:t>Context-based Security Policies w/ Auditing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etropolis"/>
                <a:ea typeface="+mn-ea"/>
                <a:cs typeface="+mn-cs"/>
              </a:endParaRPr>
            </a:p>
          </p:txBody>
        </p:sp>
        <p:pic>
          <p:nvPicPr>
            <p:cNvPr id="180" name="Graphic 179">
              <a:extLst>
                <a:ext uri="{FF2B5EF4-FFF2-40B4-BE49-F238E27FC236}">
                  <a16:creationId xmlns:a16="http://schemas.microsoft.com/office/drawing/2014/main" id="{A97168B6-659B-413A-8BB9-E08BFD5DDEE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640709" y="4774163"/>
              <a:ext cx="376529" cy="438003"/>
            </a:xfrm>
            <a:prstGeom prst="rect">
              <a:avLst/>
            </a:prstGeom>
          </p:spPr>
        </p:pic>
        <p:sp>
          <p:nvSpPr>
            <p:cNvPr id="184" name="Hexagon 183">
              <a:extLst>
                <a:ext uri="{FF2B5EF4-FFF2-40B4-BE49-F238E27FC236}">
                  <a16:creationId xmlns:a16="http://schemas.microsoft.com/office/drawing/2014/main" id="{46949726-01B3-41B2-81F0-A94447B26FE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404206" y="4856861"/>
              <a:ext cx="358293" cy="330946"/>
            </a:xfrm>
            <a:prstGeom prst="hexagon">
              <a:avLst/>
            </a:prstGeom>
            <a:noFill/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opolis"/>
                <a:ea typeface="+mn-ea"/>
                <a:cs typeface="+mn-cs"/>
              </a:endParaRPr>
            </a:p>
          </p:txBody>
        </p:sp>
        <p:cxnSp>
          <p:nvCxnSpPr>
            <p:cNvPr id="187" name="Straight Arrow Connector 186">
              <a:extLst>
                <a:ext uri="{FF2B5EF4-FFF2-40B4-BE49-F238E27FC236}">
                  <a16:creationId xmlns:a16="http://schemas.microsoft.com/office/drawing/2014/main" id="{617DF9A2-3204-4DDE-B57C-7593D4D90504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811604" y="5022335"/>
              <a:ext cx="307027" cy="0"/>
            </a:xfrm>
            <a:prstGeom prst="straightConnector1">
              <a:avLst/>
            </a:prstGeom>
            <a:ln w="19050">
              <a:solidFill>
                <a:schemeClr val="bg1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97" name="Graphic 296">
              <a:extLst>
                <a:ext uri="{FF2B5EF4-FFF2-40B4-BE49-F238E27FC236}">
                  <a16:creationId xmlns:a16="http://schemas.microsoft.com/office/drawing/2014/main" id="{15D648B8-856D-4CAE-8868-9F3BAD0FC76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817916" y="4649587"/>
              <a:ext cx="248711" cy="220349"/>
            </a:xfrm>
            <a:prstGeom prst="rect">
              <a:avLst/>
            </a:prstGeom>
          </p:spPr>
        </p:pic>
        <p:cxnSp>
          <p:nvCxnSpPr>
            <p:cNvPr id="196" name="Straight Arrow Connector 195">
              <a:extLst>
                <a:ext uri="{FF2B5EF4-FFF2-40B4-BE49-F238E27FC236}">
                  <a16:creationId xmlns:a16="http://schemas.microsoft.com/office/drawing/2014/main" id="{D8B8E7EF-7B15-4D10-9396-FD64B8C51FE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025777" y="5022335"/>
              <a:ext cx="307027" cy="0"/>
            </a:xfrm>
            <a:prstGeom prst="straightConnector1">
              <a:avLst/>
            </a:prstGeom>
            <a:ln w="19050">
              <a:solidFill>
                <a:schemeClr val="bg1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5" name="Freeform: Shape 204">
            <a:extLst>
              <a:ext uri="{FF2B5EF4-FFF2-40B4-BE49-F238E27FC236}">
                <a16:creationId xmlns:a16="http://schemas.microsoft.com/office/drawing/2014/main" id="{31478B99-5159-4EA8-BEF0-DA9DC27AEE3C}"/>
              </a:ext>
            </a:extLst>
          </p:cNvPr>
          <p:cNvSpPr/>
          <p:nvPr/>
        </p:nvSpPr>
        <p:spPr>
          <a:xfrm>
            <a:off x="8052060" y="2399371"/>
            <a:ext cx="295471" cy="371482"/>
          </a:xfrm>
          <a:custGeom>
            <a:avLst/>
            <a:gdLst>
              <a:gd name="connsiteX0" fmla="*/ 440526 w 442311"/>
              <a:gd name="connsiteY0" fmla="*/ 80451 h 556098"/>
              <a:gd name="connsiteX1" fmla="*/ 442312 w 442311"/>
              <a:gd name="connsiteY1" fmla="*/ 70416 h 556098"/>
              <a:gd name="connsiteX2" fmla="*/ 221539 w 442311"/>
              <a:gd name="connsiteY2" fmla="*/ 0 h 556098"/>
              <a:gd name="connsiteX3" fmla="*/ 851 w 442311"/>
              <a:gd name="connsiteY3" fmla="*/ 70416 h 556098"/>
              <a:gd name="connsiteX4" fmla="*/ 221539 w 442311"/>
              <a:gd name="connsiteY4" fmla="*/ 140832 h 556098"/>
              <a:gd name="connsiteX5" fmla="*/ 412802 w 442311"/>
              <a:gd name="connsiteY5" fmla="*/ 108005 h 556098"/>
              <a:gd name="connsiteX6" fmla="*/ 412802 w 442311"/>
              <a:gd name="connsiteY6" fmla="*/ 212353 h 556098"/>
              <a:gd name="connsiteX7" fmla="*/ 411356 w 442311"/>
              <a:gd name="connsiteY7" fmla="*/ 218306 h 556098"/>
              <a:gd name="connsiteX8" fmla="*/ 221539 w 442311"/>
              <a:gd name="connsiteY8" fmla="*/ 254365 h 556098"/>
              <a:gd name="connsiteX9" fmla="*/ 28405 w 442311"/>
              <a:gd name="connsiteY9" fmla="*/ 211333 h 556098"/>
              <a:gd name="connsiteX10" fmla="*/ 27640 w 442311"/>
              <a:gd name="connsiteY10" fmla="*/ 163453 h 556098"/>
              <a:gd name="connsiteX11" fmla="*/ 13863 w 442311"/>
              <a:gd name="connsiteY11" fmla="*/ 149846 h 556098"/>
              <a:gd name="connsiteX12" fmla="*/ 13608 w 442311"/>
              <a:gd name="connsiteY12" fmla="*/ 149846 h 556098"/>
              <a:gd name="connsiteX13" fmla="*/ 1 w 442311"/>
              <a:gd name="connsiteY13" fmla="*/ 163879 h 556098"/>
              <a:gd name="connsiteX14" fmla="*/ 766 w 442311"/>
              <a:gd name="connsiteY14" fmla="*/ 211503 h 556098"/>
              <a:gd name="connsiteX15" fmla="*/ 221539 w 442311"/>
              <a:gd name="connsiteY15" fmla="*/ 281919 h 556098"/>
              <a:gd name="connsiteX16" fmla="*/ 412802 w 442311"/>
              <a:gd name="connsiteY16" fmla="*/ 253174 h 556098"/>
              <a:gd name="connsiteX17" fmla="*/ 412802 w 442311"/>
              <a:gd name="connsiteY17" fmla="*/ 347742 h 556098"/>
              <a:gd name="connsiteX18" fmla="*/ 411356 w 442311"/>
              <a:gd name="connsiteY18" fmla="*/ 353695 h 556098"/>
              <a:gd name="connsiteX19" fmla="*/ 221539 w 442311"/>
              <a:gd name="connsiteY19" fmla="*/ 389754 h 556098"/>
              <a:gd name="connsiteX20" fmla="*/ 28405 w 442311"/>
              <a:gd name="connsiteY20" fmla="*/ 346807 h 556098"/>
              <a:gd name="connsiteX21" fmla="*/ 27640 w 442311"/>
              <a:gd name="connsiteY21" fmla="*/ 298928 h 556098"/>
              <a:gd name="connsiteX22" fmla="*/ 13608 w 442311"/>
              <a:gd name="connsiteY22" fmla="*/ 285321 h 556098"/>
              <a:gd name="connsiteX23" fmla="*/ 1 w 442311"/>
              <a:gd name="connsiteY23" fmla="*/ 299353 h 556098"/>
              <a:gd name="connsiteX24" fmla="*/ 766 w 442311"/>
              <a:gd name="connsiteY24" fmla="*/ 346977 h 556098"/>
              <a:gd name="connsiteX25" fmla="*/ 221539 w 442311"/>
              <a:gd name="connsiteY25" fmla="*/ 417393 h 556098"/>
              <a:gd name="connsiteX26" fmla="*/ 412802 w 442311"/>
              <a:gd name="connsiteY26" fmla="*/ 388648 h 556098"/>
              <a:gd name="connsiteX27" fmla="*/ 412802 w 442311"/>
              <a:gd name="connsiteY27" fmla="*/ 486448 h 556098"/>
              <a:gd name="connsiteX28" fmla="*/ 411356 w 442311"/>
              <a:gd name="connsiteY28" fmla="*/ 492401 h 556098"/>
              <a:gd name="connsiteX29" fmla="*/ 221539 w 442311"/>
              <a:gd name="connsiteY29" fmla="*/ 528460 h 556098"/>
              <a:gd name="connsiteX30" fmla="*/ 28405 w 442311"/>
              <a:gd name="connsiteY30" fmla="*/ 485513 h 556098"/>
              <a:gd name="connsiteX31" fmla="*/ 27640 w 442311"/>
              <a:gd name="connsiteY31" fmla="*/ 437633 h 556098"/>
              <a:gd name="connsiteX32" fmla="*/ 13608 w 442311"/>
              <a:gd name="connsiteY32" fmla="*/ 424026 h 556098"/>
              <a:gd name="connsiteX33" fmla="*/ 1 w 442311"/>
              <a:gd name="connsiteY33" fmla="*/ 438058 h 556098"/>
              <a:gd name="connsiteX34" fmla="*/ 766 w 442311"/>
              <a:gd name="connsiteY34" fmla="*/ 485683 h 556098"/>
              <a:gd name="connsiteX35" fmla="*/ 221539 w 442311"/>
              <a:gd name="connsiteY35" fmla="*/ 556099 h 556098"/>
              <a:gd name="connsiteX36" fmla="*/ 437634 w 442311"/>
              <a:gd name="connsiteY36" fmla="*/ 501246 h 556098"/>
              <a:gd name="connsiteX37" fmla="*/ 440441 w 442311"/>
              <a:gd name="connsiteY37" fmla="*/ 501246 h 556098"/>
              <a:gd name="connsiteX38" fmla="*/ 440441 w 442311"/>
              <a:gd name="connsiteY38" fmla="*/ 80451 h 556098"/>
              <a:gd name="connsiteX39" fmla="*/ 221539 w 442311"/>
              <a:gd name="connsiteY39" fmla="*/ 113193 h 556098"/>
              <a:gd name="connsiteX40" fmla="*/ 28405 w 442311"/>
              <a:gd name="connsiteY40" fmla="*/ 70416 h 556098"/>
              <a:gd name="connsiteX41" fmla="*/ 221539 w 442311"/>
              <a:gd name="connsiteY41" fmla="*/ 27639 h 556098"/>
              <a:gd name="connsiteX42" fmla="*/ 414673 w 442311"/>
              <a:gd name="connsiteY42" fmla="*/ 70416 h 556098"/>
              <a:gd name="connsiteX43" fmla="*/ 221539 w 442311"/>
              <a:gd name="connsiteY43" fmla="*/ 113193 h 556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442311" h="556098">
                <a:moveTo>
                  <a:pt x="440526" y="80451"/>
                </a:moveTo>
                <a:cubicBezTo>
                  <a:pt x="441631" y="77219"/>
                  <a:pt x="442312" y="73903"/>
                  <a:pt x="442312" y="70416"/>
                </a:cubicBezTo>
                <a:cubicBezTo>
                  <a:pt x="442312" y="22026"/>
                  <a:pt x="327928" y="0"/>
                  <a:pt x="221539" y="0"/>
                </a:cubicBezTo>
                <a:cubicBezTo>
                  <a:pt x="115150" y="0"/>
                  <a:pt x="851" y="22026"/>
                  <a:pt x="851" y="70416"/>
                </a:cubicBezTo>
                <a:cubicBezTo>
                  <a:pt x="851" y="118721"/>
                  <a:pt x="115235" y="140832"/>
                  <a:pt x="221539" y="140832"/>
                </a:cubicBezTo>
                <a:cubicBezTo>
                  <a:pt x="294846" y="140832"/>
                  <a:pt x="371981" y="130372"/>
                  <a:pt x="412802" y="108005"/>
                </a:cubicBezTo>
                <a:lnTo>
                  <a:pt x="412802" y="212353"/>
                </a:lnTo>
                <a:cubicBezTo>
                  <a:pt x="411951" y="214139"/>
                  <a:pt x="411356" y="216095"/>
                  <a:pt x="411356" y="218306"/>
                </a:cubicBezTo>
                <a:cubicBezTo>
                  <a:pt x="411356" y="230468"/>
                  <a:pt x="354037" y="254365"/>
                  <a:pt x="221539" y="254365"/>
                </a:cubicBezTo>
                <a:cubicBezTo>
                  <a:pt x="94144" y="254365"/>
                  <a:pt x="28405" y="224344"/>
                  <a:pt x="28405" y="211333"/>
                </a:cubicBezTo>
                <a:lnTo>
                  <a:pt x="27640" y="163453"/>
                </a:lnTo>
                <a:cubicBezTo>
                  <a:pt x="27555" y="155885"/>
                  <a:pt x="21347" y="149846"/>
                  <a:pt x="13863" y="149846"/>
                </a:cubicBezTo>
                <a:cubicBezTo>
                  <a:pt x="13778" y="149846"/>
                  <a:pt x="13693" y="149846"/>
                  <a:pt x="13608" y="149846"/>
                </a:cubicBezTo>
                <a:cubicBezTo>
                  <a:pt x="5954" y="149931"/>
                  <a:pt x="-84" y="156225"/>
                  <a:pt x="1" y="163879"/>
                </a:cubicBezTo>
                <a:lnTo>
                  <a:pt x="766" y="211503"/>
                </a:lnTo>
                <a:cubicBezTo>
                  <a:pt x="766" y="259893"/>
                  <a:pt x="115150" y="281919"/>
                  <a:pt x="221539" y="281919"/>
                </a:cubicBezTo>
                <a:cubicBezTo>
                  <a:pt x="270099" y="281919"/>
                  <a:pt x="366453" y="278432"/>
                  <a:pt x="412802" y="253174"/>
                </a:cubicBezTo>
                <a:lnTo>
                  <a:pt x="412802" y="347742"/>
                </a:lnTo>
                <a:cubicBezTo>
                  <a:pt x="411951" y="349528"/>
                  <a:pt x="411356" y="351484"/>
                  <a:pt x="411356" y="353695"/>
                </a:cubicBezTo>
                <a:cubicBezTo>
                  <a:pt x="411356" y="365857"/>
                  <a:pt x="354037" y="389754"/>
                  <a:pt x="221539" y="389754"/>
                </a:cubicBezTo>
                <a:cubicBezTo>
                  <a:pt x="94144" y="389754"/>
                  <a:pt x="28405" y="359819"/>
                  <a:pt x="28405" y="346807"/>
                </a:cubicBezTo>
                <a:lnTo>
                  <a:pt x="27640" y="298928"/>
                </a:lnTo>
                <a:cubicBezTo>
                  <a:pt x="27555" y="291274"/>
                  <a:pt x="21092" y="285150"/>
                  <a:pt x="13608" y="285321"/>
                </a:cubicBezTo>
                <a:cubicBezTo>
                  <a:pt x="5954" y="285406"/>
                  <a:pt x="-84" y="291699"/>
                  <a:pt x="1" y="299353"/>
                </a:cubicBezTo>
                <a:lnTo>
                  <a:pt x="766" y="346977"/>
                </a:lnTo>
                <a:cubicBezTo>
                  <a:pt x="766" y="395367"/>
                  <a:pt x="115150" y="417393"/>
                  <a:pt x="221539" y="417393"/>
                </a:cubicBezTo>
                <a:cubicBezTo>
                  <a:pt x="270099" y="417393"/>
                  <a:pt x="366453" y="413906"/>
                  <a:pt x="412802" y="388648"/>
                </a:cubicBezTo>
                <a:lnTo>
                  <a:pt x="412802" y="486448"/>
                </a:lnTo>
                <a:cubicBezTo>
                  <a:pt x="411951" y="488234"/>
                  <a:pt x="411356" y="490190"/>
                  <a:pt x="411356" y="492401"/>
                </a:cubicBezTo>
                <a:cubicBezTo>
                  <a:pt x="411356" y="504562"/>
                  <a:pt x="354037" y="528460"/>
                  <a:pt x="221539" y="528460"/>
                </a:cubicBezTo>
                <a:cubicBezTo>
                  <a:pt x="94144" y="528460"/>
                  <a:pt x="28405" y="498524"/>
                  <a:pt x="28405" y="485513"/>
                </a:cubicBezTo>
                <a:lnTo>
                  <a:pt x="27640" y="437633"/>
                </a:lnTo>
                <a:cubicBezTo>
                  <a:pt x="27555" y="429979"/>
                  <a:pt x="21092" y="424281"/>
                  <a:pt x="13608" y="424026"/>
                </a:cubicBezTo>
                <a:cubicBezTo>
                  <a:pt x="5954" y="424111"/>
                  <a:pt x="-84" y="430405"/>
                  <a:pt x="1" y="438058"/>
                </a:cubicBezTo>
                <a:lnTo>
                  <a:pt x="766" y="485683"/>
                </a:lnTo>
                <a:cubicBezTo>
                  <a:pt x="766" y="534072"/>
                  <a:pt x="115150" y="556099"/>
                  <a:pt x="221539" y="556099"/>
                </a:cubicBezTo>
                <a:cubicBezTo>
                  <a:pt x="283451" y="556099"/>
                  <a:pt x="422837" y="550486"/>
                  <a:pt x="437634" y="501246"/>
                </a:cubicBezTo>
                <a:lnTo>
                  <a:pt x="440441" y="501246"/>
                </a:lnTo>
                <a:lnTo>
                  <a:pt x="440441" y="80451"/>
                </a:lnTo>
                <a:close/>
                <a:moveTo>
                  <a:pt x="221539" y="113193"/>
                </a:moveTo>
                <a:cubicBezTo>
                  <a:pt x="94144" y="113193"/>
                  <a:pt x="28405" y="83257"/>
                  <a:pt x="28405" y="70416"/>
                </a:cubicBezTo>
                <a:cubicBezTo>
                  <a:pt x="28405" y="57574"/>
                  <a:pt x="94144" y="27639"/>
                  <a:pt x="221539" y="27639"/>
                </a:cubicBezTo>
                <a:cubicBezTo>
                  <a:pt x="348934" y="27639"/>
                  <a:pt x="414673" y="57659"/>
                  <a:pt x="414673" y="70416"/>
                </a:cubicBezTo>
                <a:cubicBezTo>
                  <a:pt x="414673" y="83172"/>
                  <a:pt x="348934" y="113193"/>
                  <a:pt x="221539" y="113193"/>
                </a:cubicBezTo>
                <a:close/>
              </a:path>
            </a:pathLst>
          </a:custGeom>
          <a:solidFill>
            <a:schemeClr val="bg1"/>
          </a:solidFill>
          <a:ln w="8441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32" name="Freeform: Shape 231">
            <a:extLst>
              <a:ext uri="{FF2B5EF4-FFF2-40B4-BE49-F238E27FC236}">
                <a16:creationId xmlns:a16="http://schemas.microsoft.com/office/drawing/2014/main" id="{21E67AEF-9050-4DD0-9F6C-042ED7D4C772}"/>
              </a:ext>
            </a:extLst>
          </p:cNvPr>
          <p:cNvSpPr/>
          <p:nvPr/>
        </p:nvSpPr>
        <p:spPr>
          <a:xfrm>
            <a:off x="8052060" y="4709716"/>
            <a:ext cx="295471" cy="371482"/>
          </a:xfrm>
          <a:custGeom>
            <a:avLst/>
            <a:gdLst>
              <a:gd name="connsiteX0" fmla="*/ 440526 w 442311"/>
              <a:gd name="connsiteY0" fmla="*/ 80451 h 556098"/>
              <a:gd name="connsiteX1" fmla="*/ 442312 w 442311"/>
              <a:gd name="connsiteY1" fmla="*/ 70416 h 556098"/>
              <a:gd name="connsiteX2" fmla="*/ 221539 w 442311"/>
              <a:gd name="connsiteY2" fmla="*/ 0 h 556098"/>
              <a:gd name="connsiteX3" fmla="*/ 851 w 442311"/>
              <a:gd name="connsiteY3" fmla="*/ 70416 h 556098"/>
              <a:gd name="connsiteX4" fmla="*/ 221539 w 442311"/>
              <a:gd name="connsiteY4" fmla="*/ 140832 h 556098"/>
              <a:gd name="connsiteX5" fmla="*/ 412802 w 442311"/>
              <a:gd name="connsiteY5" fmla="*/ 108005 h 556098"/>
              <a:gd name="connsiteX6" fmla="*/ 412802 w 442311"/>
              <a:gd name="connsiteY6" fmla="*/ 212353 h 556098"/>
              <a:gd name="connsiteX7" fmla="*/ 411356 w 442311"/>
              <a:gd name="connsiteY7" fmla="*/ 218306 h 556098"/>
              <a:gd name="connsiteX8" fmla="*/ 221539 w 442311"/>
              <a:gd name="connsiteY8" fmla="*/ 254365 h 556098"/>
              <a:gd name="connsiteX9" fmla="*/ 28405 w 442311"/>
              <a:gd name="connsiteY9" fmla="*/ 211333 h 556098"/>
              <a:gd name="connsiteX10" fmla="*/ 27640 w 442311"/>
              <a:gd name="connsiteY10" fmla="*/ 163453 h 556098"/>
              <a:gd name="connsiteX11" fmla="*/ 13863 w 442311"/>
              <a:gd name="connsiteY11" fmla="*/ 149846 h 556098"/>
              <a:gd name="connsiteX12" fmla="*/ 13608 w 442311"/>
              <a:gd name="connsiteY12" fmla="*/ 149846 h 556098"/>
              <a:gd name="connsiteX13" fmla="*/ 1 w 442311"/>
              <a:gd name="connsiteY13" fmla="*/ 163879 h 556098"/>
              <a:gd name="connsiteX14" fmla="*/ 766 w 442311"/>
              <a:gd name="connsiteY14" fmla="*/ 211503 h 556098"/>
              <a:gd name="connsiteX15" fmla="*/ 221539 w 442311"/>
              <a:gd name="connsiteY15" fmla="*/ 281919 h 556098"/>
              <a:gd name="connsiteX16" fmla="*/ 412802 w 442311"/>
              <a:gd name="connsiteY16" fmla="*/ 253174 h 556098"/>
              <a:gd name="connsiteX17" fmla="*/ 412802 w 442311"/>
              <a:gd name="connsiteY17" fmla="*/ 347742 h 556098"/>
              <a:gd name="connsiteX18" fmla="*/ 411356 w 442311"/>
              <a:gd name="connsiteY18" fmla="*/ 353695 h 556098"/>
              <a:gd name="connsiteX19" fmla="*/ 221539 w 442311"/>
              <a:gd name="connsiteY19" fmla="*/ 389754 h 556098"/>
              <a:gd name="connsiteX20" fmla="*/ 28405 w 442311"/>
              <a:gd name="connsiteY20" fmla="*/ 346807 h 556098"/>
              <a:gd name="connsiteX21" fmla="*/ 27640 w 442311"/>
              <a:gd name="connsiteY21" fmla="*/ 298928 h 556098"/>
              <a:gd name="connsiteX22" fmla="*/ 13608 w 442311"/>
              <a:gd name="connsiteY22" fmla="*/ 285321 h 556098"/>
              <a:gd name="connsiteX23" fmla="*/ 1 w 442311"/>
              <a:gd name="connsiteY23" fmla="*/ 299353 h 556098"/>
              <a:gd name="connsiteX24" fmla="*/ 766 w 442311"/>
              <a:gd name="connsiteY24" fmla="*/ 346977 h 556098"/>
              <a:gd name="connsiteX25" fmla="*/ 221539 w 442311"/>
              <a:gd name="connsiteY25" fmla="*/ 417393 h 556098"/>
              <a:gd name="connsiteX26" fmla="*/ 412802 w 442311"/>
              <a:gd name="connsiteY26" fmla="*/ 388648 h 556098"/>
              <a:gd name="connsiteX27" fmla="*/ 412802 w 442311"/>
              <a:gd name="connsiteY27" fmla="*/ 486448 h 556098"/>
              <a:gd name="connsiteX28" fmla="*/ 411356 w 442311"/>
              <a:gd name="connsiteY28" fmla="*/ 492401 h 556098"/>
              <a:gd name="connsiteX29" fmla="*/ 221539 w 442311"/>
              <a:gd name="connsiteY29" fmla="*/ 528460 h 556098"/>
              <a:gd name="connsiteX30" fmla="*/ 28405 w 442311"/>
              <a:gd name="connsiteY30" fmla="*/ 485513 h 556098"/>
              <a:gd name="connsiteX31" fmla="*/ 27640 w 442311"/>
              <a:gd name="connsiteY31" fmla="*/ 437633 h 556098"/>
              <a:gd name="connsiteX32" fmla="*/ 13608 w 442311"/>
              <a:gd name="connsiteY32" fmla="*/ 424026 h 556098"/>
              <a:gd name="connsiteX33" fmla="*/ 1 w 442311"/>
              <a:gd name="connsiteY33" fmla="*/ 438058 h 556098"/>
              <a:gd name="connsiteX34" fmla="*/ 766 w 442311"/>
              <a:gd name="connsiteY34" fmla="*/ 485683 h 556098"/>
              <a:gd name="connsiteX35" fmla="*/ 221539 w 442311"/>
              <a:gd name="connsiteY35" fmla="*/ 556099 h 556098"/>
              <a:gd name="connsiteX36" fmla="*/ 437634 w 442311"/>
              <a:gd name="connsiteY36" fmla="*/ 501246 h 556098"/>
              <a:gd name="connsiteX37" fmla="*/ 440441 w 442311"/>
              <a:gd name="connsiteY37" fmla="*/ 501246 h 556098"/>
              <a:gd name="connsiteX38" fmla="*/ 440441 w 442311"/>
              <a:gd name="connsiteY38" fmla="*/ 80451 h 556098"/>
              <a:gd name="connsiteX39" fmla="*/ 221539 w 442311"/>
              <a:gd name="connsiteY39" fmla="*/ 113193 h 556098"/>
              <a:gd name="connsiteX40" fmla="*/ 28405 w 442311"/>
              <a:gd name="connsiteY40" fmla="*/ 70416 h 556098"/>
              <a:gd name="connsiteX41" fmla="*/ 221539 w 442311"/>
              <a:gd name="connsiteY41" fmla="*/ 27639 h 556098"/>
              <a:gd name="connsiteX42" fmla="*/ 414673 w 442311"/>
              <a:gd name="connsiteY42" fmla="*/ 70416 h 556098"/>
              <a:gd name="connsiteX43" fmla="*/ 221539 w 442311"/>
              <a:gd name="connsiteY43" fmla="*/ 113193 h 556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442311" h="556098">
                <a:moveTo>
                  <a:pt x="440526" y="80451"/>
                </a:moveTo>
                <a:cubicBezTo>
                  <a:pt x="441631" y="77219"/>
                  <a:pt x="442312" y="73903"/>
                  <a:pt x="442312" y="70416"/>
                </a:cubicBezTo>
                <a:cubicBezTo>
                  <a:pt x="442312" y="22026"/>
                  <a:pt x="327928" y="0"/>
                  <a:pt x="221539" y="0"/>
                </a:cubicBezTo>
                <a:cubicBezTo>
                  <a:pt x="115150" y="0"/>
                  <a:pt x="851" y="22026"/>
                  <a:pt x="851" y="70416"/>
                </a:cubicBezTo>
                <a:cubicBezTo>
                  <a:pt x="851" y="118721"/>
                  <a:pt x="115235" y="140832"/>
                  <a:pt x="221539" y="140832"/>
                </a:cubicBezTo>
                <a:cubicBezTo>
                  <a:pt x="294846" y="140832"/>
                  <a:pt x="371981" y="130372"/>
                  <a:pt x="412802" y="108005"/>
                </a:cubicBezTo>
                <a:lnTo>
                  <a:pt x="412802" y="212353"/>
                </a:lnTo>
                <a:cubicBezTo>
                  <a:pt x="411951" y="214139"/>
                  <a:pt x="411356" y="216095"/>
                  <a:pt x="411356" y="218306"/>
                </a:cubicBezTo>
                <a:cubicBezTo>
                  <a:pt x="411356" y="230468"/>
                  <a:pt x="354037" y="254365"/>
                  <a:pt x="221539" y="254365"/>
                </a:cubicBezTo>
                <a:cubicBezTo>
                  <a:pt x="94144" y="254365"/>
                  <a:pt x="28405" y="224344"/>
                  <a:pt x="28405" y="211333"/>
                </a:cubicBezTo>
                <a:lnTo>
                  <a:pt x="27640" y="163453"/>
                </a:lnTo>
                <a:cubicBezTo>
                  <a:pt x="27555" y="155885"/>
                  <a:pt x="21347" y="149846"/>
                  <a:pt x="13863" y="149846"/>
                </a:cubicBezTo>
                <a:cubicBezTo>
                  <a:pt x="13778" y="149846"/>
                  <a:pt x="13693" y="149846"/>
                  <a:pt x="13608" y="149846"/>
                </a:cubicBezTo>
                <a:cubicBezTo>
                  <a:pt x="5954" y="149931"/>
                  <a:pt x="-84" y="156225"/>
                  <a:pt x="1" y="163879"/>
                </a:cubicBezTo>
                <a:lnTo>
                  <a:pt x="766" y="211503"/>
                </a:lnTo>
                <a:cubicBezTo>
                  <a:pt x="766" y="259893"/>
                  <a:pt x="115150" y="281919"/>
                  <a:pt x="221539" y="281919"/>
                </a:cubicBezTo>
                <a:cubicBezTo>
                  <a:pt x="270099" y="281919"/>
                  <a:pt x="366453" y="278432"/>
                  <a:pt x="412802" y="253174"/>
                </a:cubicBezTo>
                <a:lnTo>
                  <a:pt x="412802" y="347742"/>
                </a:lnTo>
                <a:cubicBezTo>
                  <a:pt x="411951" y="349528"/>
                  <a:pt x="411356" y="351484"/>
                  <a:pt x="411356" y="353695"/>
                </a:cubicBezTo>
                <a:cubicBezTo>
                  <a:pt x="411356" y="365857"/>
                  <a:pt x="354037" y="389754"/>
                  <a:pt x="221539" y="389754"/>
                </a:cubicBezTo>
                <a:cubicBezTo>
                  <a:pt x="94144" y="389754"/>
                  <a:pt x="28405" y="359819"/>
                  <a:pt x="28405" y="346807"/>
                </a:cubicBezTo>
                <a:lnTo>
                  <a:pt x="27640" y="298928"/>
                </a:lnTo>
                <a:cubicBezTo>
                  <a:pt x="27555" y="291274"/>
                  <a:pt x="21092" y="285150"/>
                  <a:pt x="13608" y="285321"/>
                </a:cubicBezTo>
                <a:cubicBezTo>
                  <a:pt x="5954" y="285406"/>
                  <a:pt x="-84" y="291699"/>
                  <a:pt x="1" y="299353"/>
                </a:cubicBezTo>
                <a:lnTo>
                  <a:pt x="766" y="346977"/>
                </a:lnTo>
                <a:cubicBezTo>
                  <a:pt x="766" y="395367"/>
                  <a:pt x="115150" y="417393"/>
                  <a:pt x="221539" y="417393"/>
                </a:cubicBezTo>
                <a:cubicBezTo>
                  <a:pt x="270099" y="417393"/>
                  <a:pt x="366453" y="413906"/>
                  <a:pt x="412802" y="388648"/>
                </a:cubicBezTo>
                <a:lnTo>
                  <a:pt x="412802" y="486448"/>
                </a:lnTo>
                <a:cubicBezTo>
                  <a:pt x="411951" y="488234"/>
                  <a:pt x="411356" y="490190"/>
                  <a:pt x="411356" y="492401"/>
                </a:cubicBezTo>
                <a:cubicBezTo>
                  <a:pt x="411356" y="504562"/>
                  <a:pt x="354037" y="528460"/>
                  <a:pt x="221539" y="528460"/>
                </a:cubicBezTo>
                <a:cubicBezTo>
                  <a:pt x="94144" y="528460"/>
                  <a:pt x="28405" y="498524"/>
                  <a:pt x="28405" y="485513"/>
                </a:cubicBezTo>
                <a:lnTo>
                  <a:pt x="27640" y="437633"/>
                </a:lnTo>
                <a:cubicBezTo>
                  <a:pt x="27555" y="429979"/>
                  <a:pt x="21092" y="424281"/>
                  <a:pt x="13608" y="424026"/>
                </a:cubicBezTo>
                <a:cubicBezTo>
                  <a:pt x="5954" y="424111"/>
                  <a:pt x="-84" y="430405"/>
                  <a:pt x="1" y="438058"/>
                </a:cubicBezTo>
                <a:lnTo>
                  <a:pt x="766" y="485683"/>
                </a:lnTo>
                <a:cubicBezTo>
                  <a:pt x="766" y="534072"/>
                  <a:pt x="115150" y="556099"/>
                  <a:pt x="221539" y="556099"/>
                </a:cubicBezTo>
                <a:cubicBezTo>
                  <a:pt x="283451" y="556099"/>
                  <a:pt x="422837" y="550486"/>
                  <a:pt x="437634" y="501246"/>
                </a:cubicBezTo>
                <a:lnTo>
                  <a:pt x="440441" y="501246"/>
                </a:lnTo>
                <a:lnTo>
                  <a:pt x="440441" y="80451"/>
                </a:lnTo>
                <a:close/>
                <a:moveTo>
                  <a:pt x="221539" y="113193"/>
                </a:moveTo>
                <a:cubicBezTo>
                  <a:pt x="94144" y="113193"/>
                  <a:pt x="28405" y="83257"/>
                  <a:pt x="28405" y="70416"/>
                </a:cubicBezTo>
                <a:cubicBezTo>
                  <a:pt x="28405" y="57574"/>
                  <a:pt x="94144" y="27639"/>
                  <a:pt x="221539" y="27639"/>
                </a:cubicBezTo>
                <a:cubicBezTo>
                  <a:pt x="348934" y="27639"/>
                  <a:pt x="414673" y="57659"/>
                  <a:pt x="414673" y="70416"/>
                </a:cubicBezTo>
                <a:cubicBezTo>
                  <a:pt x="414673" y="83172"/>
                  <a:pt x="348934" y="113193"/>
                  <a:pt x="221539" y="113193"/>
                </a:cubicBezTo>
                <a:close/>
              </a:path>
            </a:pathLst>
          </a:custGeom>
          <a:solidFill>
            <a:schemeClr val="bg1"/>
          </a:solidFill>
          <a:ln w="8441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445ECA0-608F-4CF2-9DA9-AF59ECA44999}"/>
              </a:ext>
            </a:extLst>
          </p:cNvPr>
          <p:cNvGrpSpPr/>
          <p:nvPr/>
        </p:nvGrpSpPr>
        <p:grpSpPr>
          <a:xfrm>
            <a:off x="969417" y="1429756"/>
            <a:ext cx="2385391" cy="4626833"/>
            <a:chOff x="969417" y="1429756"/>
            <a:chExt cx="2385391" cy="4626833"/>
          </a:xfrm>
        </p:grpSpPr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79C1D9AB-571D-4296-8D8D-EAF722134054}"/>
                </a:ext>
              </a:extLst>
            </p:cNvPr>
            <p:cNvGrpSpPr/>
            <p:nvPr/>
          </p:nvGrpSpPr>
          <p:grpSpPr>
            <a:xfrm>
              <a:off x="969417" y="1429756"/>
              <a:ext cx="2385391" cy="4626833"/>
              <a:chOff x="969417" y="1429756"/>
              <a:chExt cx="2385391" cy="4626833"/>
            </a:xfrm>
          </p:grpSpPr>
          <p:sp>
            <p:nvSpPr>
              <p:cNvPr id="138" name="TextBox 137">
                <a:extLst>
                  <a:ext uri="{FF2B5EF4-FFF2-40B4-BE49-F238E27FC236}">
                    <a16:creationId xmlns:a16="http://schemas.microsoft.com/office/drawing/2014/main" id="{C429E145-9EA9-D848-9D93-EC4D5DC69A46}"/>
                  </a:ext>
                </a:extLst>
              </p:cNvPr>
              <p:cNvSpPr txBox="1"/>
              <p:nvPr/>
            </p:nvSpPr>
            <p:spPr>
              <a:xfrm>
                <a:off x="1847123" y="1429756"/>
                <a:ext cx="629981" cy="215444"/>
              </a:xfrm>
              <a:prstGeom prst="rect">
                <a:avLst/>
              </a:prstGeom>
            </p:spPr>
            <p:txBody>
              <a:bodyPr wrap="none" lIns="0" tIns="0" rIns="0" bIns="0" rtlCol="0" anchor="ctr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i="0" u="none" strike="noStrike" kern="1200" cap="none" spc="10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Metropolis"/>
                    <a:ea typeface="+mn-ea"/>
                    <a:cs typeface="+mn-cs"/>
                  </a:rPr>
                  <a:t>Agility</a:t>
                </a:r>
              </a:p>
            </p:txBody>
          </p:sp>
          <p:grpSp>
            <p:nvGrpSpPr>
              <p:cNvPr id="99" name="Group 98">
                <a:extLst>
                  <a:ext uri="{FF2B5EF4-FFF2-40B4-BE49-F238E27FC236}">
                    <a16:creationId xmlns:a16="http://schemas.microsoft.com/office/drawing/2014/main" id="{DA23CD7E-5232-46A9-B0D3-A2637575C6C4}"/>
                  </a:ext>
                </a:extLst>
              </p:cNvPr>
              <p:cNvGrpSpPr/>
              <p:nvPr/>
            </p:nvGrpSpPr>
            <p:grpSpPr>
              <a:xfrm>
                <a:off x="969417" y="3999189"/>
                <a:ext cx="2385391" cy="2057400"/>
                <a:chOff x="800161" y="1737952"/>
                <a:chExt cx="2385391" cy="2097347"/>
              </a:xfrm>
            </p:grpSpPr>
            <p:sp>
              <p:nvSpPr>
                <p:cNvPr id="100" name="Rectangle 99">
                  <a:extLst>
                    <a:ext uri="{FF2B5EF4-FFF2-40B4-BE49-F238E27FC236}">
                      <a16:creationId xmlns:a16="http://schemas.microsoft.com/office/drawing/2014/main" id="{1C0F2D0A-32AD-4C2F-92B9-14EC2B508944}"/>
                    </a:ext>
                  </a:extLst>
                </p:cNvPr>
                <p:cNvSpPr/>
                <p:nvPr/>
              </p:nvSpPr>
              <p:spPr>
                <a:xfrm>
                  <a:off x="800161" y="1737952"/>
                  <a:ext cx="2385391" cy="2097347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Aft>
                      <a:spcPts val="600"/>
                    </a:spcAft>
                  </a:pPr>
                  <a:endParaRPr lang="en-US" dirty="0"/>
                </a:p>
              </p:txBody>
            </p:sp>
            <p:sp>
              <p:nvSpPr>
                <p:cNvPr id="101" name="Freeform: Shape 100">
                  <a:extLst>
                    <a:ext uri="{FF2B5EF4-FFF2-40B4-BE49-F238E27FC236}">
                      <a16:creationId xmlns:a16="http://schemas.microsoft.com/office/drawing/2014/main" id="{CE01F297-21A3-4C12-ADB4-3FA701D3577D}"/>
                    </a:ext>
                  </a:extLst>
                </p:cNvPr>
                <p:cNvSpPr/>
                <p:nvPr/>
              </p:nvSpPr>
              <p:spPr>
                <a:xfrm>
                  <a:off x="800161" y="1737952"/>
                  <a:ext cx="2385391" cy="2097347"/>
                </a:xfrm>
                <a:custGeom>
                  <a:avLst/>
                  <a:gdLst>
                    <a:gd name="connsiteX0" fmla="*/ 2094054 w 2385391"/>
                    <a:gd name="connsiteY0" fmla="*/ 0 h 2097347"/>
                    <a:gd name="connsiteX1" fmla="*/ 2385391 w 2385391"/>
                    <a:gd name="connsiteY1" fmla="*/ 0 h 2097347"/>
                    <a:gd name="connsiteX2" fmla="*/ 2385391 w 2385391"/>
                    <a:gd name="connsiteY2" fmla="*/ 2097347 h 2097347"/>
                    <a:gd name="connsiteX3" fmla="*/ 0 w 2385391"/>
                    <a:gd name="connsiteY3" fmla="*/ 2097347 h 20973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385391" h="2097347">
                      <a:moveTo>
                        <a:pt x="2094054" y="0"/>
                      </a:moveTo>
                      <a:lnTo>
                        <a:pt x="2385391" y="0"/>
                      </a:lnTo>
                      <a:lnTo>
                        <a:pt x="2385391" y="2097347"/>
                      </a:lnTo>
                      <a:lnTo>
                        <a:pt x="0" y="2097347"/>
                      </a:lnTo>
                      <a:close/>
                    </a:path>
                  </a:pathLst>
                </a:custGeom>
                <a:gradFill>
                  <a:gsLst>
                    <a:gs pos="38000">
                      <a:schemeClr val="accent1">
                        <a:lumMod val="75000"/>
                        <a:alpha val="0"/>
                      </a:schemeClr>
                    </a:gs>
                    <a:gs pos="100000">
                      <a:schemeClr val="accent1">
                        <a:lumMod val="75000"/>
                        <a:alpha val="65000"/>
                      </a:schemeClr>
                    </a:gs>
                  </a:gsLst>
                  <a:lin ang="8100000" scaled="0"/>
                </a:gradFill>
                <a:ln w="25400">
                  <a:noFill/>
                  <a:miter lim="800000"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Aft>
                      <a:spcPts val="600"/>
                    </a:spcAft>
                  </a:pPr>
                  <a:endParaRPr lang="en-US" sz="1200" dirty="0">
                    <a:solidFill>
                      <a:schemeClr val="bg1"/>
                    </a:solidFill>
                  </a:endParaRPr>
                </a:p>
              </p:txBody>
            </p:sp>
          </p:grp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679D8B70-AB51-A74A-8C3F-59CFFF6AA7C9}"/>
                  </a:ext>
                </a:extLst>
              </p:cNvPr>
              <p:cNvSpPr txBox="1"/>
              <p:nvPr/>
            </p:nvSpPr>
            <p:spPr>
              <a:xfrm>
                <a:off x="1081223" y="5562896"/>
                <a:ext cx="2161779" cy="430887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Metropolis"/>
                    <a:ea typeface="+mn-ea"/>
                    <a:cs typeface="+mn-cs"/>
                  </a:rPr>
                  <a:t>App Mobility </a:t>
                </a:r>
                <a:b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Metropolis"/>
                    <a:ea typeface="+mn-ea"/>
                    <a:cs typeface="+mn-cs"/>
                  </a:rPr>
                </a:b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Metropolis"/>
                    <a:ea typeface="+mn-ea"/>
                    <a:cs typeface="+mn-cs"/>
                  </a:rPr>
                  <a:t>and Migration</a:t>
                </a:r>
              </a:p>
            </p:txBody>
          </p:sp>
          <p:grpSp>
            <p:nvGrpSpPr>
              <p:cNvPr id="7" name="Group 6">
                <a:extLst>
                  <a:ext uri="{FF2B5EF4-FFF2-40B4-BE49-F238E27FC236}">
                    <a16:creationId xmlns:a16="http://schemas.microsoft.com/office/drawing/2014/main" id="{6AE2288A-51CF-4A2C-89EE-0B6A97A4DDCF}"/>
                  </a:ext>
                </a:extLst>
              </p:cNvPr>
              <p:cNvGrpSpPr/>
              <p:nvPr/>
            </p:nvGrpSpPr>
            <p:grpSpPr>
              <a:xfrm>
                <a:off x="969417" y="1717719"/>
                <a:ext cx="2385391" cy="2057400"/>
                <a:chOff x="800161" y="1737952"/>
                <a:chExt cx="2385391" cy="2097347"/>
              </a:xfrm>
            </p:grpSpPr>
            <p:sp>
              <p:nvSpPr>
                <p:cNvPr id="64" name="Rectangle 63">
                  <a:extLst>
                    <a:ext uri="{FF2B5EF4-FFF2-40B4-BE49-F238E27FC236}">
                      <a16:creationId xmlns:a16="http://schemas.microsoft.com/office/drawing/2014/main" id="{43D49D98-63E4-A242-9BAE-0FBA96DB540D}"/>
                    </a:ext>
                  </a:extLst>
                </p:cNvPr>
                <p:cNvSpPr/>
                <p:nvPr/>
              </p:nvSpPr>
              <p:spPr>
                <a:xfrm>
                  <a:off x="800161" y="1737952"/>
                  <a:ext cx="2385391" cy="2097347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Aft>
                      <a:spcPts val="600"/>
                    </a:spcAft>
                  </a:pPr>
                  <a:endParaRPr lang="en-US" dirty="0"/>
                </a:p>
              </p:txBody>
            </p:sp>
            <p:sp>
              <p:nvSpPr>
                <p:cNvPr id="97" name="Freeform: Shape 96">
                  <a:extLst>
                    <a:ext uri="{FF2B5EF4-FFF2-40B4-BE49-F238E27FC236}">
                      <a16:creationId xmlns:a16="http://schemas.microsoft.com/office/drawing/2014/main" id="{C2EFC636-5163-429F-BB0A-A7845A4EDCAA}"/>
                    </a:ext>
                  </a:extLst>
                </p:cNvPr>
                <p:cNvSpPr/>
                <p:nvPr/>
              </p:nvSpPr>
              <p:spPr>
                <a:xfrm>
                  <a:off x="800161" y="1737952"/>
                  <a:ext cx="2385391" cy="2097347"/>
                </a:xfrm>
                <a:custGeom>
                  <a:avLst/>
                  <a:gdLst>
                    <a:gd name="connsiteX0" fmla="*/ 2094054 w 2385391"/>
                    <a:gd name="connsiteY0" fmla="*/ 0 h 2097347"/>
                    <a:gd name="connsiteX1" fmla="*/ 2385391 w 2385391"/>
                    <a:gd name="connsiteY1" fmla="*/ 0 h 2097347"/>
                    <a:gd name="connsiteX2" fmla="*/ 2385391 w 2385391"/>
                    <a:gd name="connsiteY2" fmla="*/ 2097347 h 2097347"/>
                    <a:gd name="connsiteX3" fmla="*/ 0 w 2385391"/>
                    <a:gd name="connsiteY3" fmla="*/ 2097347 h 20973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385391" h="2097347">
                      <a:moveTo>
                        <a:pt x="2094054" y="0"/>
                      </a:moveTo>
                      <a:lnTo>
                        <a:pt x="2385391" y="0"/>
                      </a:lnTo>
                      <a:lnTo>
                        <a:pt x="2385391" y="2097347"/>
                      </a:lnTo>
                      <a:lnTo>
                        <a:pt x="0" y="2097347"/>
                      </a:lnTo>
                      <a:close/>
                    </a:path>
                  </a:pathLst>
                </a:custGeom>
                <a:gradFill>
                  <a:gsLst>
                    <a:gs pos="38000">
                      <a:schemeClr val="accent1">
                        <a:lumMod val="75000"/>
                        <a:alpha val="0"/>
                      </a:schemeClr>
                    </a:gs>
                    <a:gs pos="100000">
                      <a:schemeClr val="accent1">
                        <a:lumMod val="75000"/>
                        <a:alpha val="65000"/>
                      </a:schemeClr>
                    </a:gs>
                  </a:gsLst>
                  <a:lin ang="8100000" scaled="0"/>
                </a:gradFill>
                <a:ln w="25400">
                  <a:noFill/>
                  <a:miter lim="800000"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Aft>
                      <a:spcPts val="600"/>
                    </a:spcAft>
                  </a:pPr>
                  <a:endParaRPr lang="en-US" sz="1200" dirty="0">
                    <a:solidFill>
                      <a:schemeClr val="bg1"/>
                    </a:solidFill>
                  </a:endParaRPr>
                </a:p>
              </p:txBody>
            </p:sp>
          </p:grpSp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id="{54B78E35-343E-F948-8D42-E4F637DFE22D}"/>
                  </a:ext>
                </a:extLst>
              </p:cNvPr>
              <p:cNvSpPr txBox="1"/>
              <p:nvPr/>
            </p:nvSpPr>
            <p:spPr>
              <a:xfrm>
                <a:off x="1081223" y="3283760"/>
                <a:ext cx="2161779" cy="430887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Metropolis"/>
                    <a:ea typeface="+mn-ea"/>
                    <a:cs typeface="+mn-cs"/>
                  </a:rPr>
                  <a:t>Hybrid and Multi-Cloud Application Patterns</a:t>
                </a:r>
              </a:p>
            </p:txBody>
          </p:sp>
          <p:grpSp>
            <p:nvGrpSpPr>
              <p:cNvPr id="15" name="Group 14">
                <a:extLst>
                  <a:ext uri="{FF2B5EF4-FFF2-40B4-BE49-F238E27FC236}">
                    <a16:creationId xmlns:a16="http://schemas.microsoft.com/office/drawing/2014/main" id="{2F7403D1-1267-44A7-997B-0886941FCAB8}"/>
                  </a:ext>
                </a:extLst>
              </p:cNvPr>
              <p:cNvGrpSpPr/>
              <p:nvPr/>
            </p:nvGrpSpPr>
            <p:grpSpPr>
              <a:xfrm>
                <a:off x="1250939" y="1910002"/>
                <a:ext cx="1691292" cy="1151002"/>
                <a:chOff x="1239535" y="2062877"/>
                <a:chExt cx="1691292" cy="1151002"/>
              </a:xfrm>
            </p:grpSpPr>
            <p:grpSp>
              <p:nvGrpSpPr>
                <p:cNvPr id="5" name="Group 4">
                  <a:extLst>
                    <a:ext uri="{FF2B5EF4-FFF2-40B4-BE49-F238E27FC236}">
                      <a16:creationId xmlns:a16="http://schemas.microsoft.com/office/drawing/2014/main" id="{47CE1A12-8B26-4CDD-B7F6-E0DD643C3E41}"/>
                    </a:ext>
                  </a:extLst>
                </p:cNvPr>
                <p:cNvGrpSpPr/>
                <p:nvPr/>
              </p:nvGrpSpPr>
              <p:grpSpPr>
                <a:xfrm>
                  <a:off x="2249717" y="2819916"/>
                  <a:ext cx="410043" cy="304506"/>
                  <a:chOff x="2321322" y="2607711"/>
                  <a:chExt cx="410043" cy="304506"/>
                </a:xfrm>
              </p:grpSpPr>
              <p:sp>
                <p:nvSpPr>
                  <p:cNvPr id="71" name="Hexagon 70">
                    <a:extLst>
                      <a:ext uri="{FF2B5EF4-FFF2-40B4-BE49-F238E27FC236}">
                        <a16:creationId xmlns:a16="http://schemas.microsoft.com/office/drawing/2014/main" id="{BB8C444E-8C51-3E45-8DE1-70F6D6D1048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>
                    <a:off x="2321322" y="2607711"/>
                    <a:ext cx="205708" cy="182880"/>
                  </a:xfrm>
                  <a:prstGeom prst="hexagon">
                    <a:avLst/>
                  </a:prstGeom>
                  <a:noFill/>
                  <a:ln w="12700">
                    <a:solidFill>
                      <a:schemeClr val="bg1"/>
                    </a:solidFill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Metropolis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1" name="Hexagon 120">
                    <a:extLst>
                      <a:ext uri="{FF2B5EF4-FFF2-40B4-BE49-F238E27FC236}">
                        <a16:creationId xmlns:a16="http://schemas.microsoft.com/office/drawing/2014/main" id="{D7CF2E7B-2D18-1B4D-8121-A626A162FA8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>
                    <a:off x="2525657" y="2729337"/>
                    <a:ext cx="205708" cy="182880"/>
                  </a:xfrm>
                  <a:prstGeom prst="hexagon">
                    <a:avLst/>
                  </a:prstGeom>
                  <a:noFill/>
                  <a:ln w="12700">
                    <a:solidFill>
                      <a:schemeClr val="bg1"/>
                    </a:solidFill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6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Metropolis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4" name="Group 13">
                  <a:extLst>
                    <a:ext uri="{FF2B5EF4-FFF2-40B4-BE49-F238E27FC236}">
                      <a16:creationId xmlns:a16="http://schemas.microsoft.com/office/drawing/2014/main" id="{662E7A86-CCF3-4B03-97C8-3EA50C85A296}"/>
                    </a:ext>
                  </a:extLst>
                </p:cNvPr>
                <p:cNvGrpSpPr/>
                <p:nvPr/>
              </p:nvGrpSpPr>
              <p:grpSpPr>
                <a:xfrm>
                  <a:off x="1239535" y="2062877"/>
                  <a:ext cx="916294" cy="524653"/>
                  <a:chOff x="1239535" y="2062877"/>
                  <a:chExt cx="916294" cy="524653"/>
                </a:xfrm>
              </p:grpSpPr>
              <p:grpSp>
                <p:nvGrpSpPr>
                  <p:cNvPr id="2" name="Group 1">
                    <a:extLst>
                      <a:ext uri="{FF2B5EF4-FFF2-40B4-BE49-F238E27FC236}">
                        <a16:creationId xmlns:a16="http://schemas.microsoft.com/office/drawing/2014/main" id="{27AAFD46-EAA1-4B8F-832F-FA80222A6860}"/>
                      </a:ext>
                    </a:extLst>
                  </p:cNvPr>
                  <p:cNvGrpSpPr/>
                  <p:nvPr/>
                </p:nvGrpSpPr>
                <p:grpSpPr>
                  <a:xfrm>
                    <a:off x="1595285" y="2203665"/>
                    <a:ext cx="315118" cy="307585"/>
                    <a:chOff x="1573607" y="2101348"/>
                    <a:chExt cx="315118" cy="307585"/>
                  </a:xfrm>
                </p:grpSpPr>
                <p:sp>
                  <p:nvSpPr>
                    <p:cNvPr id="113" name="Hexagon 112">
                      <a:extLst>
                        <a:ext uri="{FF2B5EF4-FFF2-40B4-BE49-F238E27FC236}">
                          <a16:creationId xmlns:a16="http://schemas.microsoft.com/office/drawing/2014/main" id="{7C3903DA-A588-EB45-9486-89A7ED9261FC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>
                      <a:off x="1729055" y="2101348"/>
                      <a:ext cx="155448" cy="138197"/>
                    </a:xfrm>
                    <a:prstGeom prst="hexagon">
                      <a:avLst/>
                    </a:prstGeom>
                    <a:noFill/>
                    <a:ln w="12700">
                      <a:solidFill>
                        <a:schemeClr val="bg1"/>
                      </a:solidFill>
                    </a:ln>
                    <a:effectLst/>
                  </p:spPr>
                  <p:style>
                    <a:lnRef idx="1">
                      <a:schemeClr val="accent1"/>
                    </a:lnRef>
                    <a:fillRef idx="3">
                      <a:schemeClr val="accent1"/>
                    </a:fillRef>
                    <a:effectRef idx="2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Metropolis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18" name="Hexagon 117">
                      <a:extLst>
                        <a:ext uri="{FF2B5EF4-FFF2-40B4-BE49-F238E27FC236}">
                          <a16:creationId xmlns:a16="http://schemas.microsoft.com/office/drawing/2014/main" id="{52BB1B69-A35D-6441-81CA-7A6A51D4167B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>
                      <a:off x="1573607" y="2189816"/>
                      <a:ext cx="155448" cy="138197"/>
                    </a:xfrm>
                    <a:prstGeom prst="hexagon">
                      <a:avLst/>
                    </a:prstGeom>
                    <a:noFill/>
                    <a:ln w="12700">
                      <a:solidFill>
                        <a:schemeClr val="bg1"/>
                      </a:solidFill>
                    </a:ln>
                    <a:effectLst/>
                  </p:spPr>
                  <p:style>
                    <a:lnRef idx="1">
                      <a:schemeClr val="accent1"/>
                    </a:lnRef>
                    <a:fillRef idx="3">
                      <a:schemeClr val="accent1"/>
                    </a:fillRef>
                    <a:effectRef idx="2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Metropolis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20" name="Hexagon 119">
                      <a:extLst>
                        <a:ext uri="{FF2B5EF4-FFF2-40B4-BE49-F238E27FC236}">
                          <a16:creationId xmlns:a16="http://schemas.microsoft.com/office/drawing/2014/main" id="{278321EA-B915-5B4B-9FF1-8A148200B708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>
                      <a:off x="1733277" y="2270736"/>
                      <a:ext cx="155448" cy="138197"/>
                    </a:xfrm>
                    <a:prstGeom prst="hexagon">
                      <a:avLst/>
                    </a:prstGeom>
                    <a:noFill/>
                    <a:ln w="12700">
                      <a:solidFill>
                        <a:schemeClr val="bg1"/>
                      </a:solidFill>
                    </a:ln>
                    <a:effectLst/>
                  </p:spPr>
                  <p:style>
                    <a:lnRef idx="1">
                      <a:schemeClr val="accent1"/>
                    </a:lnRef>
                    <a:fillRef idx="3">
                      <a:schemeClr val="accent1"/>
                    </a:fillRef>
                    <a:effectRef idx="2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Metropolis"/>
                        <a:ea typeface="+mn-ea"/>
                        <a:cs typeface="+mn-cs"/>
                      </a:endParaRPr>
                    </a:p>
                  </p:txBody>
                </p:sp>
              </p:grpSp>
              <p:pic>
                <p:nvPicPr>
                  <p:cNvPr id="165" name="Graphic 164">
                    <a:extLst>
                      <a:ext uri="{FF2B5EF4-FFF2-40B4-BE49-F238E27FC236}">
                        <a16:creationId xmlns:a16="http://schemas.microsoft.com/office/drawing/2014/main" id="{BC4E46CE-A3BA-42ED-BFB2-577A4F17E6C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7">
                    <a:extLst>
                      <a:ext uri="{96DAC541-7B7A-43D3-8B79-37D633B846F1}">
                        <asvg:svgBlip xmlns:asvg="http://schemas.microsoft.com/office/drawing/2016/SVG/main" r:embed="rId8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239535" y="2062877"/>
                    <a:ext cx="916294" cy="524653"/>
                  </a:xfrm>
                  <a:prstGeom prst="rect">
                    <a:avLst/>
                  </a:prstGeom>
                </p:spPr>
              </p:pic>
            </p:grpSp>
            <p:pic>
              <p:nvPicPr>
                <p:cNvPr id="167" name="Graphic 166">
                  <a:extLst>
                    <a:ext uri="{FF2B5EF4-FFF2-40B4-BE49-F238E27FC236}">
                      <a16:creationId xmlns:a16="http://schemas.microsoft.com/office/drawing/2014/main" id="{DC9824C2-CA6F-4E88-93D4-DFCBD27416D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845223" y="2592283"/>
                  <a:ext cx="1085604" cy="621596"/>
                </a:xfrm>
                <a:prstGeom prst="rect">
                  <a:avLst/>
                </a:prstGeom>
              </p:spPr>
            </p:pic>
            <p:cxnSp>
              <p:nvCxnSpPr>
                <p:cNvPr id="168" name="Straight Connector 167">
                  <a:extLst>
                    <a:ext uri="{FF2B5EF4-FFF2-40B4-BE49-F238E27FC236}">
                      <a16:creationId xmlns:a16="http://schemas.microsoft.com/office/drawing/2014/main" id="{3FB67E84-8ECE-4EDA-A7A6-807EEAE6C270}"/>
                    </a:ext>
                  </a:extLst>
                </p:cNvPr>
                <p:cNvCxnSpPr>
                  <a:cxnSpLocks/>
                </p:cNvCxnSpPr>
                <p:nvPr/>
              </p:nvCxnSpPr>
              <p:spPr bwMode="gray">
                <a:xfrm>
                  <a:off x="1926760" y="2463167"/>
                  <a:ext cx="552779" cy="315322"/>
                </a:xfrm>
                <a:prstGeom prst="line">
                  <a:avLst/>
                </a:prstGeom>
                <a:ln w="19050">
                  <a:solidFill>
                    <a:schemeClr val="bg1"/>
                  </a:solidFill>
                  <a:miter lim="800000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1291BE1D-BBE8-480C-8047-11A2A6BCBA79}"/>
                  </a:ext>
                </a:extLst>
              </p:cNvPr>
              <p:cNvGrpSpPr/>
              <p:nvPr/>
            </p:nvGrpSpPr>
            <p:grpSpPr>
              <a:xfrm>
                <a:off x="1140653" y="4679950"/>
                <a:ext cx="2057742" cy="471780"/>
                <a:chOff x="1140653" y="4679950"/>
                <a:chExt cx="2057742" cy="471780"/>
              </a:xfrm>
            </p:grpSpPr>
            <p:grpSp>
              <p:nvGrpSpPr>
                <p:cNvPr id="169" name="Group 168">
                  <a:extLst>
                    <a:ext uri="{FF2B5EF4-FFF2-40B4-BE49-F238E27FC236}">
                      <a16:creationId xmlns:a16="http://schemas.microsoft.com/office/drawing/2014/main" id="{F99679DF-85A4-46A5-AA81-9F3770D0A2D7}"/>
                    </a:ext>
                  </a:extLst>
                </p:cNvPr>
                <p:cNvGrpSpPr/>
                <p:nvPr/>
              </p:nvGrpSpPr>
              <p:grpSpPr>
                <a:xfrm>
                  <a:off x="1140653" y="4679950"/>
                  <a:ext cx="823956" cy="471780"/>
                  <a:chOff x="1239535" y="2062877"/>
                  <a:chExt cx="916294" cy="524653"/>
                </a:xfrm>
              </p:grpSpPr>
              <p:grpSp>
                <p:nvGrpSpPr>
                  <p:cNvPr id="170" name="Group 169">
                    <a:extLst>
                      <a:ext uri="{FF2B5EF4-FFF2-40B4-BE49-F238E27FC236}">
                        <a16:creationId xmlns:a16="http://schemas.microsoft.com/office/drawing/2014/main" id="{8F3B5C1B-3482-490D-A986-C2D2DFF2FA9D}"/>
                      </a:ext>
                    </a:extLst>
                  </p:cNvPr>
                  <p:cNvGrpSpPr/>
                  <p:nvPr/>
                </p:nvGrpSpPr>
                <p:grpSpPr>
                  <a:xfrm>
                    <a:off x="1595285" y="2203665"/>
                    <a:ext cx="315118" cy="307585"/>
                    <a:chOff x="1573607" y="2101348"/>
                    <a:chExt cx="315118" cy="307585"/>
                  </a:xfrm>
                </p:grpSpPr>
                <p:sp>
                  <p:nvSpPr>
                    <p:cNvPr id="174" name="Hexagon 173">
                      <a:extLst>
                        <a:ext uri="{FF2B5EF4-FFF2-40B4-BE49-F238E27FC236}">
                          <a16:creationId xmlns:a16="http://schemas.microsoft.com/office/drawing/2014/main" id="{C8DF6A98-A673-44C0-BD80-B111875CFDED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>
                      <a:off x="1729055" y="2101348"/>
                      <a:ext cx="155448" cy="138197"/>
                    </a:xfrm>
                    <a:prstGeom prst="hexagon">
                      <a:avLst/>
                    </a:prstGeom>
                    <a:noFill/>
                    <a:ln w="12700">
                      <a:solidFill>
                        <a:schemeClr val="bg1"/>
                      </a:solidFill>
                    </a:ln>
                    <a:effectLst/>
                  </p:spPr>
                  <p:style>
                    <a:lnRef idx="1">
                      <a:schemeClr val="accent1"/>
                    </a:lnRef>
                    <a:fillRef idx="3">
                      <a:schemeClr val="accent1"/>
                    </a:fillRef>
                    <a:effectRef idx="2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Metropolis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76" name="Hexagon 175">
                      <a:extLst>
                        <a:ext uri="{FF2B5EF4-FFF2-40B4-BE49-F238E27FC236}">
                          <a16:creationId xmlns:a16="http://schemas.microsoft.com/office/drawing/2014/main" id="{14054036-D954-4717-B7CE-3B3450F07272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>
                      <a:off x="1573607" y="2189816"/>
                      <a:ext cx="155448" cy="138197"/>
                    </a:xfrm>
                    <a:prstGeom prst="hexagon">
                      <a:avLst/>
                    </a:prstGeom>
                    <a:noFill/>
                    <a:ln w="12700">
                      <a:solidFill>
                        <a:schemeClr val="bg1"/>
                      </a:solidFill>
                    </a:ln>
                    <a:effectLst/>
                  </p:spPr>
                  <p:style>
                    <a:lnRef idx="1">
                      <a:schemeClr val="accent1"/>
                    </a:lnRef>
                    <a:fillRef idx="3">
                      <a:schemeClr val="accent1"/>
                    </a:fillRef>
                    <a:effectRef idx="2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Metropolis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77" name="Hexagon 176">
                      <a:extLst>
                        <a:ext uri="{FF2B5EF4-FFF2-40B4-BE49-F238E27FC236}">
                          <a16:creationId xmlns:a16="http://schemas.microsoft.com/office/drawing/2014/main" id="{236667CC-1DFA-4983-9B43-1D14421CBC66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>
                      <a:off x="1733277" y="2270736"/>
                      <a:ext cx="155448" cy="138197"/>
                    </a:xfrm>
                    <a:prstGeom prst="hexagon">
                      <a:avLst/>
                    </a:prstGeom>
                    <a:noFill/>
                    <a:ln w="12700">
                      <a:solidFill>
                        <a:schemeClr val="bg1"/>
                      </a:solidFill>
                    </a:ln>
                    <a:effectLst/>
                  </p:spPr>
                  <p:style>
                    <a:lnRef idx="1">
                      <a:schemeClr val="accent1"/>
                    </a:lnRef>
                    <a:fillRef idx="3">
                      <a:schemeClr val="accent1"/>
                    </a:fillRef>
                    <a:effectRef idx="2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Metropolis"/>
                        <a:ea typeface="+mn-ea"/>
                        <a:cs typeface="+mn-cs"/>
                      </a:endParaRPr>
                    </a:p>
                  </p:txBody>
                </p:sp>
              </p:grpSp>
              <p:pic>
                <p:nvPicPr>
                  <p:cNvPr id="171" name="Graphic 170">
                    <a:extLst>
                      <a:ext uri="{FF2B5EF4-FFF2-40B4-BE49-F238E27FC236}">
                        <a16:creationId xmlns:a16="http://schemas.microsoft.com/office/drawing/2014/main" id="{027D70CD-91DE-490F-9911-AF872D517D2E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7">
                    <a:extLst>
                      <a:ext uri="{96DAC541-7B7A-43D3-8B79-37D633B846F1}">
                        <asvg:svgBlip xmlns:asvg="http://schemas.microsoft.com/office/drawing/2016/SVG/main" r:embed="rId8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239535" y="2062877"/>
                    <a:ext cx="916294" cy="524653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78" name="Group 177">
                  <a:extLst>
                    <a:ext uri="{FF2B5EF4-FFF2-40B4-BE49-F238E27FC236}">
                      <a16:creationId xmlns:a16="http://schemas.microsoft.com/office/drawing/2014/main" id="{0FCA8BA4-76EE-458C-A976-79A4D5E4CEEE}"/>
                    </a:ext>
                  </a:extLst>
                </p:cNvPr>
                <p:cNvGrpSpPr/>
                <p:nvPr/>
              </p:nvGrpSpPr>
              <p:grpSpPr>
                <a:xfrm>
                  <a:off x="2374439" y="4679950"/>
                  <a:ext cx="823956" cy="471780"/>
                  <a:chOff x="1239535" y="2062877"/>
                  <a:chExt cx="916294" cy="524653"/>
                </a:xfrm>
              </p:grpSpPr>
              <p:grpSp>
                <p:nvGrpSpPr>
                  <p:cNvPr id="179" name="Group 178">
                    <a:extLst>
                      <a:ext uri="{FF2B5EF4-FFF2-40B4-BE49-F238E27FC236}">
                        <a16:creationId xmlns:a16="http://schemas.microsoft.com/office/drawing/2014/main" id="{A811127A-AC48-42D3-B92D-FF5F10F020FB}"/>
                      </a:ext>
                    </a:extLst>
                  </p:cNvPr>
                  <p:cNvGrpSpPr/>
                  <p:nvPr/>
                </p:nvGrpSpPr>
                <p:grpSpPr>
                  <a:xfrm>
                    <a:off x="1595285" y="2203665"/>
                    <a:ext cx="315118" cy="307585"/>
                    <a:chOff x="1573607" y="2101348"/>
                    <a:chExt cx="315118" cy="307585"/>
                  </a:xfrm>
                </p:grpSpPr>
                <p:sp>
                  <p:nvSpPr>
                    <p:cNvPr id="190" name="Hexagon 189">
                      <a:extLst>
                        <a:ext uri="{FF2B5EF4-FFF2-40B4-BE49-F238E27FC236}">
                          <a16:creationId xmlns:a16="http://schemas.microsoft.com/office/drawing/2014/main" id="{A437F56D-A49F-4AC0-94ED-6A44B745CEB1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>
                      <a:off x="1729055" y="2101348"/>
                      <a:ext cx="155448" cy="138197"/>
                    </a:xfrm>
                    <a:prstGeom prst="hexagon">
                      <a:avLst/>
                    </a:prstGeom>
                    <a:noFill/>
                    <a:ln w="12700">
                      <a:solidFill>
                        <a:schemeClr val="bg1"/>
                      </a:solidFill>
                    </a:ln>
                    <a:effectLst/>
                  </p:spPr>
                  <p:style>
                    <a:lnRef idx="1">
                      <a:schemeClr val="accent1"/>
                    </a:lnRef>
                    <a:fillRef idx="3">
                      <a:schemeClr val="accent1"/>
                    </a:fillRef>
                    <a:effectRef idx="2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Metropolis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1" name="Hexagon 190">
                      <a:extLst>
                        <a:ext uri="{FF2B5EF4-FFF2-40B4-BE49-F238E27FC236}">
                          <a16:creationId xmlns:a16="http://schemas.microsoft.com/office/drawing/2014/main" id="{2434699B-0784-4816-A1FF-91BE8CF0D63A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>
                      <a:off x="1573607" y="2189816"/>
                      <a:ext cx="155448" cy="138197"/>
                    </a:xfrm>
                    <a:prstGeom prst="hexagon">
                      <a:avLst/>
                    </a:prstGeom>
                    <a:noFill/>
                    <a:ln w="12700">
                      <a:solidFill>
                        <a:schemeClr val="bg1"/>
                      </a:solidFill>
                    </a:ln>
                    <a:effectLst/>
                  </p:spPr>
                  <p:style>
                    <a:lnRef idx="1">
                      <a:schemeClr val="accent1"/>
                    </a:lnRef>
                    <a:fillRef idx="3">
                      <a:schemeClr val="accent1"/>
                    </a:fillRef>
                    <a:effectRef idx="2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Metropolis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3" name="Hexagon 192">
                      <a:extLst>
                        <a:ext uri="{FF2B5EF4-FFF2-40B4-BE49-F238E27FC236}">
                          <a16:creationId xmlns:a16="http://schemas.microsoft.com/office/drawing/2014/main" id="{0F864333-9861-481A-924B-55943C15355D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>
                    <a:xfrm>
                      <a:off x="1733277" y="2270736"/>
                      <a:ext cx="155448" cy="138197"/>
                    </a:xfrm>
                    <a:prstGeom prst="hexagon">
                      <a:avLst/>
                    </a:prstGeom>
                    <a:noFill/>
                    <a:ln w="12700">
                      <a:solidFill>
                        <a:schemeClr val="bg1"/>
                      </a:solidFill>
                    </a:ln>
                    <a:effectLst/>
                  </p:spPr>
                  <p:style>
                    <a:lnRef idx="1">
                      <a:schemeClr val="accent1"/>
                    </a:lnRef>
                    <a:fillRef idx="3">
                      <a:schemeClr val="accent1"/>
                    </a:fillRef>
                    <a:effectRef idx="2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Metropolis"/>
                        <a:ea typeface="+mn-ea"/>
                        <a:cs typeface="+mn-cs"/>
                      </a:endParaRPr>
                    </a:p>
                  </p:txBody>
                </p:sp>
              </p:grpSp>
              <p:pic>
                <p:nvPicPr>
                  <p:cNvPr id="189" name="Graphic 188">
                    <a:extLst>
                      <a:ext uri="{FF2B5EF4-FFF2-40B4-BE49-F238E27FC236}">
                        <a16:creationId xmlns:a16="http://schemas.microsoft.com/office/drawing/2014/main" id="{930EF53F-E673-4911-AD27-494AEF7CD4C6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7">
                    <a:extLst>
                      <a:ext uri="{96DAC541-7B7A-43D3-8B79-37D633B846F1}">
                        <asvg:svgBlip xmlns:asvg="http://schemas.microsoft.com/office/drawing/2016/SVG/main" r:embed="rId8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239535" y="2062877"/>
                    <a:ext cx="916294" cy="524653"/>
                  </a:xfrm>
                  <a:prstGeom prst="rect">
                    <a:avLst/>
                  </a:prstGeom>
                </p:spPr>
              </p:pic>
            </p:grpSp>
          </p:grpSp>
          <p:sp>
            <p:nvSpPr>
              <p:cNvPr id="197" name="Freeform: Shape 196">
                <a:extLst>
                  <a:ext uri="{FF2B5EF4-FFF2-40B4-BE49-F238E27FC236}">
                    <a16:creationId xmlns:a16="http://schemas.microsoft.com/office/drawing/2014/main" id="{49DBA2F7-22D9-4BD5-810C-F588876A3041}"/>
                  </a:ext>
                </a:extLst>
              </p:cNvPr>
              <p:cNvSpPr/>
              <p:nvPr/>
            </p:nvSpPr>
            <p:spPr>
              <a:xfrm>
                <a:off x="2521196" y="2554044"/>
                <a:ext cx="145460" cy="182881"/>
              </a:xfrm>
              <a:custGeom>
                <a:avLst/>
                <a:gdLst>
                  <a:gd name="connsiteX0" fmla="*/ 440526 w 442311"/>
                  <a:gd name="connsiteY0" fmla="*/ 80451 h 556098"/>
                  <a:gd name="connsiteX1" fmla="*/ 442312 w 442311"/>
                  <a:gd name="connsiteY1" fmla="*/ 70416 h 556098"/>
                  <a:gd name="connsiteX2" fmla="*/ 221539 w 442311"/>
                  <a:gd name="connsiteY2" fmla="*/ 0 h 556098"/>
                  <a:gd name="connsiteX3" fmla="*/ 851 w 442311"/>
                  <a:gd name="connsiteY3" fmla="*/ 70416 h 556098"/>
                  <a:gd name="connsiteX4" fmla="*/ 221539 w 442311"/>
                  <a:gd name="connsiteY4" fmla="*/ 140832 h 556098"/>
                  <a:gd name="connsiteX5" fmla="*/ 412802 w 442311"/>
                  <a:gd name="connsiteY5" fmla="*/ 108005 h 556098"/>
                  <a:gd name="connsiteX6" fmla="*/ 412802 w 442311"/>
                  <a:gd name="connsiteY6" fmla="*/ 212353 h 556098"/>
                  <a:gd name="connsiteX7" fmla="*/ 411356 w 442311"/>
                  <a:gd name="connsiteY7" fmla="*/ 218306 h 556098"/>
                  <a:gd name="connsiteX8" fmla="*/ 221539 w 442311"/>
                  <a:gd name="connsiteY8" fmla="*/ 254365 h 556098"/>
                  <a:gd name="connsiteX9" fmla="*/ 28405 w 442311"/>
                  <a:gd name="connsiteY9" fmla="*/ 211333 h 556098"/>
                  <a:gd name="connsiteX10" fmla="*/ 27640 w 442311"/>
                  <a:gd name="connsiteY10" fmla="*/ 163453 h 556098"/>
                  <a:gd name="connsiteX11" fmla="*/ 13863 w 442311"/>
                  <a:gd name="connsiteY11" fmla="*/ 149846 h 556098"/>
                  <a:gd name="connsiteX12" fmla="*/ 13608 w 442311"/>
                  <a:gd name="connsiteY12" fmla="*/ 149846 h 556098"/>
                  <a:gd name="connsiteX13" fmla="*/ 1 w 442311"/>
                  <a:gd name="connsiteY13" fmla="*/ 163879 h 556098"/>
                  <a:gd name="connsiteX14" fmla="*/ 766 w 442311"/>
                  <a:gd name="connsiteY14" fmla="*/ 211503 h 556098"/>
                  <a:gd name="connsiteX15" fmla="*/ 221539 w 442311"/>
                  <a:gd name="connsiteY15" fmla="*/ 281919 h 556098"/>
                  <a:gd name="connsiteX16" fmla="*/ 412802 w 442311"/>
                  <a:gd name="connsiteY16" fmla="*/ 253174 h 556098"/>
                  <a:gd name="connsiteX17" fmla="*/ 412802 w 442311"/>
                  <a:gd name="connsiteY17" fmla="*/ 347742 h 556098"/>
                  <a:gd name="connsiteX18" fmla="*/ 411356 w 442311"/>
                  <a:gd name="connsiteY18" fmla="*/ 353695 h 556098"/>
                  <a:gd name="connsiteX19" fmla="*/ 221539 w 442311"/>
                  <a:gd name="connsiteY19" fmla="*/ 389754 h 556098"/>
                  <a:gd name="connsiteX20" fmla="*/ 28405 w 442311"/>
                  <a:gd name="connsiteY20" fmla="*/ 346807 h 556098"/>
                  <a:gd name="connsiteX21" fmla="*/ 27640 w 442311"/>
                  <a:gd name="connsiteY21" fmla="*/ 298928 h 556098"/>
                  <a:gd name="connsiteX22" fmla="*/ 13608 w 442311"/>
                  <a:gd name="connsiteY22" fmla="*/ 285321 h 556098"/>
                  <a:gd name="connsiteX23" fmla="*/ 1 w 442311"/>
                  <a:gd name="connsiteY23" fmla="*/ 299353 h 556098"/>
                  <a:gd name="connsiteX24" fmla="*/ 766 w 442311"/>
                  <a:gd name="connsiteY24" fmla="*/ 346977 h 556098"/>
                  <a:gd name="connsiteX25" fmla="*/ 221539 w 442311"/>
                  <a:gd name="connsiteY25" fmla="*/ 417393 h 556098"/>
                  <a:gd name="connsiteX26" fmla="*/ 412802 w 442311"/>
                  <a:gd name="connsiteY26" fmla="*/ 388648 h 556098"/>
                  <a:gd name="connsiteX27" fmla="*/ 412802 w 442311"/>
                  <a:gd name="connsiteY27" fmla="*/ 486448 h 556098"/>
                  <a:gd name="connsiteX28" fmla="*/ 411356 w 442311"/>
                  <a:gd name="connsiteY28" fmla="*/ 492401 h 556098"/>
                  <a:gd name="connsiteX29" fmla="*/ 221539 w 442311"/>
                  <a:gd name="connsiteY29" fmla="*/ 528460 h 556098"/>
                  <a:gd name="connsiteX30" fmla="*/ 28405 w 442311"/>
                  <a:gd name="connsiteY30" fmla="*/ 485513 h 556098"/>
                  <a:gd name="connsiteX31" fmla="*/ 27640 w 442311"/>
                  <a:gd name="connsiteY31" fmla="*/ 437633 h 556098"/>
                  <a:gd name="connsiteX32" fmla="*/ 13608 w 442311"/>
                  <a:gd name="connsiteY32" fmla="*/ 424026 h 556098"/>
                  <a:gd name="connsiteX33" fmla="*/ 1 w 442311"/>
                  <a:gd name="connsiteY33" fmla="*/ 438058 h 556098"/>
                  <a:gd name="connsiteX34" fmla="*/ 766 w 442311"/>
                  <a:gd name="connsiteY34" fmla="*/ 485683 h 556098"/>
                  <a:gd name="connsiteX35" fmla="*/ 221539 w 442311"/>
                  <a:gd name="connsiteY35" fmla="*/ 556099 h 556098"/>
                  <a:gd name="connsiteX36" fmla="*/ 437634 w 442311"/>
                  <a:gd name="connsiteY36" fmla="*/ 501246 h 556098"/>
                  <a:gd name="connsiteX37" fmla="*/ 440441 w 442311"/>
                  <a:gd name="connsiteY37" fmla="*/ 501246 h 556098"/>
                  <a:gd name="connsiteX38" fmla="*/ 440441 w 442311"/>
                  <a:gd name="connsiteY38" fmla="*/ 80451 h 556098"/>
                  <a:gd name="connsiteX39" fmla="*/ 221539 w 442311"/>
                  <a:gd name="connsiteY39" fmla="*/ 113193 h 556098"/>
                  <a:gd name="connsiteX40" fmla="*/ 28405 w 442311"/>
                  <a:gd name="connsiteY40" fmla="*/ 70416 h 556098"/>
                  <a:gd name="connsiteX41" fmla="*/ 221539 w 442311"/>
                  <a:gd name="connsiteY41" fmla="*/ 27639 h 556098"/>
                  <a:gd name="connsiteX42" fmla="*/ 414673 w 442311"/>
                  <a:gd name="connsiteY42" fmla="*/ 70416 h 556098"/>
                  <a:gd name="connsiteX43" fmla="*/ 221539 w 442311"/>
                  <a:gd name="connsiteY43" fmla="*/ 113193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442311" h="556098">
                    <a:moveTo>
                      <a:pt x="440526" y="80451"/>
                    </a:moveTo>
                    <a:cubicBezTo>
                      <a:pt x="441631" y="77219"/>
                      <a:pt x="442312" y="73903"/>
                      <a:pt x="442312" y="70416"/>
                    </a:cubicBezTo>
                    <a:cubicBezTo>
                      <a:pt x="442312" y="22026"/>
                      <a:pt x="327928" y="0"/>
                      <a:pt x="221539" y="0"/>
                    </a:cubicBezTo>
                    <a:cubicBezTo>
                      <a:pt x="115150" y="0"/>
                      <a:pt x="851" y="22026"/>
                      <a:pt x="851" y="70416"/>
                    </a:cubicBezTo>
                    <a:cubicBezTo>
                      <a:pt x="851" y="118721"/>
                      <a:pt x="115235" y="140832"/>
                      <a:pt x="221539" y="140832"/>
                    </a:cubicBezTo>
                    <a:cubicBezTo>
                      <a:pt x="294846" y="140832"/>
                      <a:pt x="371981" y="130372"/>
                      <a:pt x="412802" y="108005"/>
                    </a:cubicBezTo>
                    <a:lnTo>
                      <a:pt x="412802" y="212353"/>
                    </a:lnTo>
                    <a:cubicBezTo>
                      <a:pt x="411951" y="214139"/>
                      <a:pt x="411356" y="216095"/>
                      <a:pt x="411356" y="218306"/>
                    </a:cubicBezTo>
                    <a:cubicBezTo>
                      <a:pt x="411356" y="230468"/>
                      <a:pt x="354037" y="254365"/>
                      <a:pt x="221539" y="254365"/>
                    </a:cubicBezTo>
                    <a:cubicBezTo>
                      <a:pt x="94144" y="254365"/>
                      <a:pt x="28405" y="224344"/>
                      <a:pt x="28405" y="211333"/>
                    </a:cubicBezTo>
                    <a:lnTo>
                      <a:pt x="27640" y="163453"/>
                    </a:lnTo>
                    <a:cubicBezTo>
                      <a:pt x="27555" y="155885"/>
                      <a:pt x="21347" y="149846"/>
                      <a:pt x="13863" y="149846"/>
                    </a:cubicBezTo>
                    <a:cubicBezTo>
                      <a:pt x="13778" y="149846"/>
                      <a:pt x="13693" y="149846"/>
                      <a:pt x="13608" y="149846"/>
                    </a:cubicBezTo>
                    <a:cubicBezTo>
                      <a:pt x="5954" y="149931"/>
                      <a:pt x="-84" y="156225"/>
                      <a:pt x="1" y="163879"/>
                    </a:cubicBezTo>
                    <a:lnTo>
                      <a:pt x="766" y="211503"/>
                    </a:lnTo>
                    <a:cubicBezTo>
                      <a:pt x="766" y="259893"/>
                      <a:pt x="115150" y="281919"/>
                      <a:pt x="221539" y="281919"/>
                    </a:cubicBezTo>
                    <a:cubicBezTo>
                      <a:pt x="270099" y="281919"/>
                      <a:pt x="366453" y="278432"/>
                      <a:pt x="412802" y="253174"/>
                    </a:cubicBezTo>
                    <a:lnTo>
                      <a:pt x="412802" y="347742"/>
                    </a:lnTo>
                    <a:cubicBezTo>
                      <a:pt x="411951" y="349528"/>
                      <a:pt x="411356" y="351484"/>
                      <a:pt x="411356" y="353695"/>
                    </a:cubicBezTo>
                    <a:cubicBezTo>
                      <a:pt x="411356" y="365857"/>
                      <a:pt x="354037" y="389754"/>
                      <a:pt x="221539" y="389754"/>
                    </a:cubicBezTo>
                    <a:cubicBezTo>
                      <a:pt x="94144" y="389754"/>
                      <a:pt x="28405" y="359819"/>
                      <a:pt x="28405" y="346807"/>
                    </a:cubicBezTo>
                    <a:lnTo>
                      <a:pt x="27640" y="298928"/>
                    </a:lnTo>
                    <a:cubicBezTo>
                      <a:pt x="27555" y="291274"/>
                      <a:pt x="21092" y="285150"/>
                      <a:pt x="13608" y="285321"/>
                    </a:cubicBezTo>
                    <a:cubicBezTo>
                      <a:pt x="5954" y="285406"/>
                      <a:pt x="-84" y="291699"/>
                      <a:pt x="1" y="299353"/>
                    </a:cubicBezTo>
                    <a:lnTo>
                      <a:pt x="766" y="346977"/>
                    </a:lnTo>
                    <a:cubicBezTo>
                      <a:pt x="766" y="395367"/>
                      <a:pt x="115150" y="417393"/>
                      <a:pt x="221539" y="417393"/>
                    </a:cubicBezTo>
                    <a:cubicBezTo>
                      <a:pt x="270099" y="417393"/>
                      <a:pt x="366453" y="413906"/>
                      <a:pt x="412802" y="388648"/>
                    </a:cubicBezTo>
                    <a:lnTo>
                      <a:pt x="412802" y="486448"/>
                    </a:lnTo>
                    <a:cubicBezTo>
                      <a:pt x="411951" y="488234"/>
                      <a:pt x="411356" y="490190"/>
                      <a:pt x="411356" y="492401"/>
                    </a:cubicBezTo>
                    <a:cubicBezTo>
                      <a:pt x="411356" y="504562"/>
                      <a:pt x="354037" y="528460"/>
                      <a:pt x="221539" y="528460"/>
                    </a:cubicBezTo>
                    <a:cubicBezTo>
                      <a:pt x="94144" y="528460"/>
                      <a:pt x="28405" y="498524"/>
                      <a:pt x="28405" y="485513"/>
                    </a:cubicBezTo>
                    <a:lnTo>
                      <a:pt x="27640" y="437633"/>
                    </a:lnTo>
                    <a:cubicBezTo>
                      <a:pt x="27555" y="429979"/>
                      <a:pt x="21092" y="424281"/>
                      <a:pt x="13608" y="424026"/>
                    </a:cubicBezTo>
                    <a:cubicBezTo>
                      <a:pt x="5954" y="424111"/>
                      <a:pt x="-84" y="430405"/>
                      <a:pt x="1" y="438058"/>
                    </a:cubicBezTo>
                    <a:lnTo>
                      <a:pt x="766" y="485683"/>
                    </a:lnTo>
                    <a:cubicBezTo>
                      <a:pt x="766" y="534072"/>
                      <a:pt x="115150" y="556099"/>
                      <a:pt x="221539" y="556099"/>
                    </a:cubicBezTo>
                    <a:cubicBezTo>
                      <a:pt x="283451" y="556099"/>
                      <a:pt x="422837" y="550486"/>
                      <a:pt x="437634" y="501246"/>
                    </a:cubicBezTo>
                    <a:lnTo>
                      <a:pt x="440441" y="501246"/>
                    </a:lnTo>
                    <a:lnTo>
                      <a:pt x="440441" y="80451"/>
                    </a:lnTo>
                    <a:close/>
                    <a:moveTo>
                      <a:pt x="221539" y="113193"/>
                    </a:moveTo>
                    <a:cubicBezTo>
                      <a:pt x="94144" y="113193"/>
                      <a:pt x="28405" y="83257"/>
                      <a:pt x="28405" y="70416"/>
                    </a:cubicBezTo>
                    <a:cubicBezTo>
                      <a:pt x="28405" y="57574"/>
                      <a:pt x="94144" y="27639"/>
                      <a:pt x="221539" y="27639"/>
                    </a:cubicBezTo>
                    <a:cubicBezTo>
                      <a:pt x="348934" y="27639"/>
                      <a:pt x="414673" y="57659"/>
                      <a:pt x="414673" y="70416"/>
                    </a:cubicBezTo>
                    <a:cubicBezTo>
                      <a:pt x="414673" y="83172"/>
                      <a:pt x="348934" y="113193"/>
                      <a:pt x="221539" y="113193"/>
                    </a:cubicBezTo>
                    <a:close/>
                  </a:path>
                </a:pathLst>
              </a:custGeom>
              <a:solidFill>
                <a:schemeClr val="bg1"/>
              </a:solidFill>
              <a:ln w="84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  <p:cxnSp>
          <p:nvCxnSpPr>
            <p:cNvPr id="145" name="Straight Arrow Connector 144">
              <a:extLst>
                <a:ext uri="{FF2B5EF4-FFF2-40B4-BE49-F238E27FC236}">
                  <a16:creationId xmlns:a16="http://schemas.microsoft.com/office/drawing/2014/main" id="{382A06E5-E16C-48B2-99B0-50F9098B592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2008598" y="5008524"/>
              <a:ext cx="307027" cy="0"/>
            </a:xfrm>
            <a:prstGeom prst="straightConnector1">
              <a:avLst/>
            </a:prstGeom>
            <a:ln w="19050">
              <a:solidFill>
                <a:schemeClr val="bg1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928FDA0E-2408-4120-889E-0D8A78D93FB0}"/>
              </a:ext>
            </a:extLst>
          </p:cNvPr>
          <p:cNvGrpSpPr/>
          <p:nvPr/>
        </p:nvGrpSpPr>
        <p:grpSpPr>
          <a:xfrm>
            <a:off x="8834018" y="1431070"/>
            <a:ext cx="2385391" cy="4626833"/>
            <a:chOff x="8834018" y="1431070"/>
            <a:chExt cx="2385391" cy="4626833"/>
          </a:xfrm>
        </p:grpSpPr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C413C0A2-6B05-4E3F-8DED-D14A7346DEAC}"/>
                </a:ext>
              </a:extLst>
            </p:cNvPr>
            <p:cNvGrpSpPr/>
            <p:nvPr/>
          </p:nvGrpSpPr>
          <p:grpSpPr>
            <a:xfrm>
              <a:off x="8834018" y="1431070"/>
              <a:ext cx="2385391" cy="4626833"/>
              <a:chOff x="8827043" y="1429756"/>
              <a:chExt cx="2385391" cy="4626833"/>
            </a:xfrm>
          </p:grpSpPr>
          <p:sp>
            <p:nvSpPr>
              <p:cNvPr id="141" name="TextBox 140">
                <a:extLst>
                  <a:ext uri="{FF2B5EF4-FFF2-40B4-BE49-F238E27FC236}">
                    <a16:creationId xmlns:a16="http://schemas.microsoft.com/office/drawing/2014/main" id="{76951B81-2220-574D-BBDA-ACF8EBFA64A1}"/>
                  </a:ext>
                </a:extLst>
              </p:cNvPr>
              <p:cNvSpPr txBox="1"/>
              <p:nvPr/>
            </p:nvSpPr>
            <p:spPr>
              <a:xfrm>
                <a:off x="9597348" y="1429756"/>
                <a:ext cx="844783" cy="215444"/>
              </a:xfrm>
              <a:prstGeom prst="rect">
                <a:avLst/>
              </a:prstGeom>
            </p:spPr>
            <p:txBody>
              <a:bodyPr wrap="none" lIns="0" tIns="0" rIns="0" bIns="0" rtlCol="0" anchor="ctr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i="0" u="none" strike="noStrike" kern="1200" cap="none" spc="100" normalizeH="0" baseline="0" noProof="0" dirty="0">
                    <a:ln>
                      <a:noFill/>
                    </a:ln>
                    <a:solidFill>
                      <a:schemeClr val="accent2"/>
                    </a:solidFill>
                    <a:effectLst/>
                    <a:uLnTx/>
                    <a:uFillTx/>
                    <a:latin typeface="Metropolis"/>
                    <a:ea typeface="+mn-ea"/>
                    <a:cs typeface="+mn-cs"/>
                  </a:rPr>
                  <a:t>Visibility</a:t>
                </a:r>
              </a:p>
            </p:txBody>
          </p:sp>
          <p:grpSp>
            <p:nvGrpSpPr>
              <p:cNvPr id="23" name="Group 22">
                <a:extLst>
                  <a:ext uri="{FF2B5EF4-FFF2-40B4-BE49-F238E27FC236}">
                    <a16:creationId xmlns:a16="http://schemas.microsoft.com/office/drawing/2014/main" id="{010DA7D8-149E-4D8E-AAB1-FA837A4A5D63}"/>
                  </a:ext>
                </a:extLst>
              </p:cNvPr>
              <p:cNvGrpSpPr/>
              <p:nvPr/>
            </p:nvGrpSpPr>
            <p:grpSpPr>
              <a:xfrm>
                <a:off x="8827043" y="3999189"/>
                <a:ext cx="2385391" cy="2057400"/>
                <a:chOff x="9117917" y="4119839"/>
                <a:chExt cx="2385391" cy="2057400"/>
              </a:xfrm>
            </p:grpSpPr>
            <p:grpSp>
              <p:nvGrpSpPr>
                <p:cNvPr id="105" name="Group 104">
                  <a:extLst>
                    <a:ext uri="{FF2B5EF4-FFF2-40B4-BE49-F238E27FC236}">
                      <a16:creationId xmlns:a16="http://schemas.microsoft.com/office/drawing/2014/main" id="{4C121D9F-B422-42C5-A181-7E1CF416CB00}"/>
                    </a:ext>
                  </a:extLst>
                </p:cNvPr>
                <p:cNvGrpSpPr/>
                <p:nvPr/>
              </p:nvGrpSpPr>
              <p:grpSpPr>
                <a:xfrm>
                  <a:off x="9117917" y="4119839"/>
                  <a:ext cx="2385391" cy="2057400"/>
                  <a:chOff x="800161" y="1737952"/>
                  <a:chExt cx="2385391" cy="2097347"/>
                </a:xfrm>
              </p:grpSpPr>
              <p:sp>
                <p:nvSpPr>
                  <p:cNvPr id="106" name="Rectangle 105">
                    <a:extLst>
                      <a:ext uri="{FF2B5EF4-FFF2-40B4-BE49-F238E27FC236}">
                        <a16:creationId xmlns:a16="http://schemas.microsoft.com/office/drawing/2014/main" id="{7468E85D-3455-4C33-ABE5-0DF2A3CE15D3}"/>
                      </a:ext>
                    </a:extLst>
                  </p:cNvPr>
                  <p:cNvSpPr/>
                  <p:nvPr/>
                </p:nvSpPr>
                <p:spPr>
                  <a:xfrm>
                    <a:off x="800161" y="1737952"/>
                    <a:ext cx="2385391" cy="2097347"/>
                  </a:xfrm>
                  <a:prstGeom prst="rect">
                    <a:avLst/>
                  </a:prstGeom>
                  <a:solidFill>
                    <a:schemeClr val="accent2"/>
                  </a:solidFill>
                  <a:ln w="25400">
                    <a:noFill/>
                    <a:miter lim="800000"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>
                      <a:spcAft>
                        <a:spcPts val="600"/>
                      </a:spcAft>
                    </a:pPr>
                    <a:endParaRPr lang="en-US" sz="1200" dirty="0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107" name="Freeform: Shape 106">
                    <a:extLst>
                      <a:ext uri="{FF2B5EF4-FFF2-40B4-BE49-F238E27FC236}">
                        <a16:creationId xmlns:a16="http://schemas.microsoft.com/office/drawing/2014/main" id="{3619D39D-1D5B-47A7-BA50-E2EAB1724890}"/>
                      </a:ext>
                    </a:extLst>
                  </p:cNvPr>
                  <p:cNvSpPr/>
                  <p:nvPr/>
                </p:nvSpPr>
                <p:spPr>
                  <a:xfrm>
                    <a:off x="800161" y="1737952"/>
                    <a:ext cx="2385391" cy="2097347"/>
                  </a:xfrm>
                  <a:custGeom>
                    <a:avLst/>
                    <a:gdLst>
                      <a:gd name="connsiteX0" fmla="*/ 2094054 w 2385391"/>
                      <a:gd name="connsiteY0" fmla="*/ 0 h 2097347"/>
                      <a:gd name="connsiteX1" fmla="*/ 2385391 w 2385391"/>
                      <a:gd name="connsiteY1" fmla="*/ 0 h 2097347"/>
                      <a:gd name="connsiteX2" fmla="*/ 2385391 w 2385391"/>
                      <a:gd name="connsiteY2" fmla="*/ 2097347 h 2097347"/>
                      <a:gd name="connsiteX3" fmla="*/ 0 w 2385391"/>
                      <a:gd name="connsiteY3" fmla="*/ 2097347 h 20973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385391" h="2097347">
                        <a:moveTo>
                          <a:pt x="2094054" y="0"/>
                        </a:moveTo>
                        <a:lnTo>
                          <a:pt x="2385391" y="0"/>
                        </a:lnTo>
                        <a:lnTo>
                          <a:pt x="2385391" y="2097347"/>
                        </a:lnTo>
                        <a:lnTo>
                          <a:pt x="0" y="2097347"/>
                        </a:lnTo>
                        <a:close/>
                      </a:path>
                    </a:pathLst>
                  </a:custGeom>
                  <a:gradFill>
                    <a:gsLst>
                      <a:gs pos="38000">
                        <a:schemeClr val="accent2">
                          <a:lumMod val="75000"/>
                          <a:alpha val="0"/>
                        </a:schemeClr>
                      </a:gs>
                      <a:gs pos="100000">
                        <a:schemeClr val="accent2">
                          <a:lumMod val="75000"/>
                          <a:alpha val="65000"/>
                        </a:schemeClr>
                      </a:gs>
                    </a:gsLst>
                    <a:lin ang="8100000" scaled="0"/>
                  </a:gradFill>
                  <a:ln w="25400">
                    <a:noFill/>
                    <a:miter lim="800000"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>
                      <a:spcAft>
                        <a:spcPts val="600"/>
                      </a:spcAft>
                    </a:pPr>
                    <a:endParaRPr lang="en-US" sz="1200" dirty="0">
                      <a:solidFill>
                        <a:schemeClr val="bg1"/>
                      </a:solidFill>
                    </a:endParaRPr>
                  </a:p>
                </p:txBody>
              </p:sp>
            </p:grpSp>
            <p:sp>
              <p:nvSpPr>
                <p:cNvPr id="59" name="TextBox 58">
                  <a:extLst>
                    <a:ext uri="{FF2B5EF4-FFF2-40B4-BE49-F238E27FC236}">
                      <a16:creationId xmlns:a16="http://schemas.microsoft.com/office/drawing/2014/main" id="{5CC3D536-493B-A445-9E59-D4C32CF0ECD9}"/>
                    </a:ext>
                  </a:extLst>
                </p:cNvPr>
                <p:cNvSpPr txBox="1"/>
                <p:nvPr/>
              </p:nvSpPr>
              <p:spPr>
                <a:xfrm>
                  <a:off x="9290613" y="5656943"/>
                  <a:ext cx="2039997" cy="369332"/>
                </a:xfrm>
                <a:prstGeom prst="rect">
                  <a:avLst/>
                </a:prstGeom>
              </p:spPr>
              <p:txBody>
                <a:bodyPr wrap="square" lIns="0" tIns="0" rIns="0" bIns="0" rtlCol="0" anchor="t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US" sz="1200" b="1" dirty="0">
                      <a:solidFill>
                        <a:schemeClr val="bg1"/>
                      </a:solidFill>
                      <a:latin typeface="Metropolis"/>
                    </a:rPr>
                    <a:t>Controlled Service</a:t>
                  </a:r>
                  <a:r>
                    <a:rPr kumimoji="0" lang="en-US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Metropolis"/>
                      <a:ea typeface="+mn-ea"/>
                      <a:cs typeface="+mn-cs"/>
                    </a:rPr>
                    <a:t> Deployments and Upgrades</a:t>
                  </a:r>
                </a:p>
              </p:txBody>
            </p:sp>
            <p:sp>
              <p:nvSpPr>
                <p:cNvPr id="181" name="Hexagon 180">
                  <a:extLst>
                    <a:ext uri="{FF2B5EF4-FFF2-40B4-BE49-F238E27FC236}">
                      <a16:creationId xmlns:a16="http://schemas.microsoft.com/office/drawing/2014/main" id="{E3C6094A-1F1E-894E-9C1E-BA56841A0E04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9495810" y="4740877"/>
                  <a:ext cx="562590" cy="519650"/>
                </a:xfrm>
                <a:prstGeom prst="hexagon">
                  <a:avLst/>
                </a:prstGeom>
                <a:noFill/>
                <a:ln w="15875">
                  <a:solidFill>
                    <a:schemeClr val="bg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i="0" u="none" strike="noStrike" kern="1200" cap="none" spc="10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Metropolis"/>
                      <a:ea typeface="+mn-ea"/>
                      <a:cs typeface="+mn-cs"/>
                    </a:rPr>
                    <a:t>v1</a:t>
                  </a:r>
                </a:p>
              </p:txBody>
            </p:sp>
            <p:sp>
              <p:nvSpPr>
                <p:cNvPr id="182" name="Hexagon 181">
                  <a:extLst>
                    <a:ext uri="{FF2B5EF4-FFF2-40B4-BE49-F238E27FC236}">
                      <a16:creationId xmlns:a16="http://schemas.microsoft.com/office/drawing/2014/main" id="{6599073F-2596-D041-A39D-5BF4AA5106B7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10508268" y="4740737"/>
                  <a:ext cx="562590" cy="519650"/>
                </a:xfrm>
                <a:prstGeom prst="hexagon">
                  <a:avLst/>
                </a:prstGeom>
                <a:noFill/>
                <a:ln w="15875">
                  <a:solidFill>
                    <a:schemeClr val="bg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i="0" u="none" strike="noStrike" kern="1200" cap="none" spc="10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Metropolis"/>
                      <a:ea typeface="+mn-ea"/>
                      <a:cs typeface="+mn-cs"/>
                    </a:rPr>
                    <a:t>v2</a:t>
                  </a:r>
                </a:p>
              </p:txBody>
            </p:sp>
          </p:grpSp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82E8244E-4B3C-4147-8917-0853F86C25BB}"/>
                  </a:ext>
                </a:extLst>
              </p:cNvPr>
              <p:cNvGrpSpPr/>
              <p:nvPr/>
            </p:nvGrpSpPr>
            <p:grpSpPr>
              <a:xfrm>
                <a:off x="8827043" y="1717719"/>
                <a:ext cx="2385391" cy="2057400"/>
                <a:chOff x="8827043" y="1717719"/>
                <a:chExt cx="2385391" cy="2057400"/>
              </a:xfrm>
            </p:grpSpPr>
            <p:grpSp>
              <p:nvGrpSpPr>
                <p:cNvPr id="201" name="Group 200">
                  <a:extLst>
                    <a:ext uri="{FF2B5EF4-FFF2-40B4-BE49-F238E27FC236}">
                      <a16:creationId xmlns:a16="http://schemas.microsoft.com/office/drawing/2014/main" id="{AB2A4C78-C30D-4A00-A207-0CF57FC2F942}"/>
                    </a:ext>
                  </a:extLst>
                </p:cNvPr>
                <p:cNvGrpSpPr/>
                <p:nvPr/>
              </p:nvGrpSpPr>
              <p:grpSpPr>
                <a:xfrm>
                  <a:off x="8827043" y="1717719"/>
                  <a:ext cx="2385391" cy="2057400"/>
                  <a:chOff x="800161" y="1737952"/>
                  <a:chExt cx="2385391" cy="2097347"/>
                </a:xfrm>
              </p:grpSpPr>
              <p:sp>
                <p:nvSpPr>
                  <p:cNvPr id="202" name="Rectangle 201">
                    <a:extLst>
                      <a:ext uri="{FF2B5EF4-FFF2-40B4-BE49-F238E27FC236}">
                        <a16:creationId xmlns:a16="http://schemas.microsoft.com/office/drawing/2014/main" id="{24EB9B3E-547E-4813-BC80-3A74B123540D}"/>
                      </a:ext>
                    </a:extLst>
                  </p:cNvPr>
                  <p:cNvSpPr/>
                  <p:nvPr/>
                </p:nvSpPr>
                <p:spPr>
                  <a:xfrm>
                    <a:off x="800161" y="1737952"/>
                    <a:ext cx="2385391" cy="2097347"/>
                  </a:xfrm>
                  <a:prstGeom prst="rect">
                    <a:avLst/>
                  </a:prstGeom>
                  <a:solidFill>
                    <a:schemeClr val="accent2"/>
                  </a:solidFill>
                  <a:ln w="25400">
                    <a:noFill/>
                    <a:miter lim="800000"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>
                      <a:spcAft>
                        <a:spcPts val="600"/>
                      </a:spcAft>
                    </a:pPr>
                    <a:endParaRPr lang="en-US" sz="1200" dirty="0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203" name="Freeform: Shape 202">
                    <a:extLst>
                      <a:ext uri="{FF2B5EF4-FFF2-40B4-BE49-F238E27FC236}">
                        <a16:creationId xmlns:a16="http://schemas.microsoft.com/office/drawing/2014/main" id="{D390DCF7-1D05-4B2F-9842-D133E26D89DC}"/>
                      </a:ext>
                    </a:extLst>
                  </p:cNvPr>
                  <p:cNvSpPr/>
                  <p:nvPr/>
                </p:nvSpPr>
                <p:spPr>
                  <a:xfrm>
                    <a:off x="800161" y="1737952"/>
                    <a:ext cx="2385391" cy="2097347"/>
                  </a:xfrm>
                  <a:custGeom>
                    <a:avLst/>
                    <a:gdLst>
                      <a:gd name="connsiteX0" fmla="*/ 2094054 w 2385391"/>
                      <a:gd name="connsiteY0" fmla="*/ 0 h 2097347"/>
                      <a:gd name="connsiteX1" fmla="*/ 2385391 w 2385391"/>
                      <a:gd name="connsiteY1" fmla="*/ 0 h 2097347"/>
                      <a:gd name="connsiteX2" fmla="*/ 2385391 w 2385391"/>
                      <a:gd name="connsiteY2" fmla="*/ 2097347 h 2097347"/>
                      <a:gd name="connsiteX3" fmla="*/ 0 w 2385391"/>
                      <a:gd name="connsiteY3" fmla="*/ 2097347 h 20973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385391" h="2097347">
                        <a:moveTo>
                          <a:pt x="2094054" y="0"/>
                        </a:moveTo>
                        <a:lnTo>
                          <a:pt x="2385391" y="0"/>
                        </a:lnTo>
                        <a:lnTo>
                          <a:pt x="2385391" y="2097347"/>
                        </a:lnTo>
                        <a:lnTo>
                          <a:pt x="0" y="2097347"/>
                        </a:lnTo>
                        <a:close/>
                      </a:path>
                    </a:pathLst>
                  </a:custGeom>
                  <a:gradFill>
                    <a:gsLst>
                      <a:gs pos="38000">
                        <a:schemeClr val="accent2">
                          <a:lumMod val="75000"/>
                          <a:alpha val="0"/>
                        </a:schemeClr>
                      </a:gs>
                      <a:gs pos="100000">
                        <a:schemeClr val="accent2">
                          <a:lumMod val="75000"/>
                          <a:alpha val="65000"/>
                        </a:schemeClr>
                      </a:gs>
                    </a:gsLst>
                    <a:lin ang="8100000" scaled="0"/>
                  </a:gradFill>
                  <a:ln w="25400">
                    <a:noFill/>
                    <a:miter lim="800000"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>
                      <a:spcAft>
                        <a:spcPts val="600"/>
                      </a:spcAft>
                    </a:pPr>
                    <a:endParaRPr lang="en-US" sz="1200" dirty="0">
                      <a:solidFill>
                        <a:schemeClr val="bg1"/>
                      </a:solidFill>
                    </a:endParaRPr>
                  </a:p>
                </p:txBody>
              </p:sp>
            </p:grpSp>
            <p:sp>
              <p:nvSpPr>
                <p:cNvPr id="63" name="TextBox 62">
                  <a:extLst>
                    <a:ext uri="{FF2B5EF4-FFF2-40B4-BE49-F238E27FC236}">
                      <a16:creationId xmlns:a16="http://schemas.microsoft.com/office/drawing/2014/main" id="{4E38B710-5476-854E-8329-679ED36AA217}"/>
                    </a:ext>
                  </a:extLst>
                </p:cNvPr>
                <p:cNvSpPr txBox="1"/>
                <p:nvPr/>
              </p:nvSpPr>
              <p:spPr>
                <a:xfrm>
                  <a:off x="9109404" y="3283760"/>
                  <a:ext cx="1820670" cy="369332"/>
                </a:xfrm>
                <a:prstGeom prst="rect">
                  <a:avLst/>
                </a:prstGeom>
              </p:spPr>
              <p:txBody>
                <a:bodyPr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marR="0" lvl="0" indent="0" algn="ctr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 kumimoji="0" sz="1400" i="0" u="none" strike="noStrike" cap="none" spc="0" normalizeH="0" baseline="0">
                      <a:ln>
                        <a:noFill/>
                      </a:ln>
                      <a:effectLst/>
                      <a:uLnTx/>
                      <a:uFillTx/>
                    </a:defRPr>
                  </a:lvl1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Metropolis"/>
                      <a:ea typeface="+mn-ea"/>
                      <a:cs typeface="+mn-cs"/>
                    </a:rPr>
                    <a:t>Visibility for DevOps, SREs, and SecOps</a:t>
                  </a:r>
                </a:p>
              </p:txBody>
            </p:sp>
            <p:grpSp>
              <p:nvGrpSpPr>
                <p:cNvPr id="37" name="Group 36">
                  <a:extLst>
                    <a:ext uri="{FF2B5EF4-FFF2-40B4-BE49-F238E27FC236}">
                      <a16:creationId xmlns:a16="http://schemas.microsoft.com/office/drawing/2014/main" id="{07A96C06-793A-43D2-8871-973130856496}"/>
                    </a:ext>
                  </a:extLst>
                </p:cNvPr>
                <p:cNvGrpSpPr/>
                <p:nvPr/>
              </p:nvGrpSpPr>
              <p:grpSpPr>
                <a:xfrm>
                  <a:off x="9159895" y="1960414"/>
                  <a:ext cx="1369741" cy="965931"/>
                  <a:chOff x="9390720" y="1960414"/>
                  <a:chExt cx="1369741" cy="965931"/>
                </a:xfrm>
              </p:grpSpPr>
              <p:pic>
                <p:nvPicPr>
                  <p:cNvPr id="298" name="Graphic 297">
                    <a:extLst>
                      <a:ext uri="{FF2B5EF4-FFF2-40B4-BE49-F238E27FC236}">
                        <a16:creationId xmlns:a16="http://schemas.microsoft.com/office/drawing/2014/main" id="{F8AB2887-1180-4AB8-A040-99C7632576E8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9">
                    <a:extLst>
                      <a:ext uri="{96DAC541-7B7A-43D3-8B79-37D633B846F1}">
                        <asvg:svgBlip xmlns:asvg="http://schemas.microsoft.com/office/drawing/2016/SVG/main" r:embed="rId10"/>
                      </a:ext>
                    </a:extLst>
                  </a:blip>
                  <a:stretch>
                    <a:fillRect/>
                  </a:stretch>
                </p:blipFill>
                <p:spPr>
                  <a:xfrm flipH="1">
                    <a:off x="10107328" y="1960414"/>
                    <a:ext cx="490846" cy="490846"/>
                  </a:xfrm>
                  <a:prstGeom prst="rect">
                    <a:avLst/>
                  </a:prstGeom>
                </p:spPr>
              </p:pic>
              <p:grpSp>
                <p:nvGrpSpPr>
                  <p:cNvPr id="33" name="Group 32">
                    <a:extLst>
                      <a:ext uri="{FF2B5EF4-FFF2-40B4-BE49-F238E27FC236}">
                        <a16:creationId xmlns:a16="http://schemas.microsoft.com/office/drawing/2014/main" id="{C57D9EEE-636B-4EA9-B55F-7345846F3640}"/>
                      </a:ext>
                    </a:extLst>
                  </p:cNvPr>
                  <p:cNvGrpSpPr/>
                  <p:nvPr/>
                </p:nvGrpSpPr>
                <p:grpSpPr>
                  <a:xfrm>
                    <a:off x="9390720" y="2611343"/>
                    <a:ext cx="1369741" cy="315002"/>
                    <a:chOff x="9390720" y="2611343"/>
                    <a:chExt cx="1369741" cy="315002"/>
                  </a:xfrm>
                </p:grpSpPr>
                <p:cxnSp>
                  <p:nvCxnSpPr>
                    <p:cNvPr id="3" name="Straight Connector 2">
                      <a:extLst>
                        <a:ext uri="{FF2B5EF4-FFF2-40B4-BE49-F238E27FC236}">
                          <a16:creationId xmlns:a16="http://schemas.microsoft.com/office/drawing/2014/main" id="{7C40FDC4-8479-8A42-A9F3-F777B80D61E1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gray">
                    <a:xfrm flipV="1">
                      <a:off x="9813779" y="2768767"/>
                      <a:ext cx="182880" cy="153"/>
                    </a:xfrm>
                    <a:prstGeom prst="line">
                      <a:avLst/>
                    </a:prstGeom>
                    <a:ln w="12700">
                      <a:solidFill>
                        <a:schemeClr val="bg1"/>
                      </a:solidFill>
                      <a:miter lim="800000"/>
                      <a:tailEnd type="none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pic>
                  <p:nvPicPr>
                    <p:cNvPr id="204" name="Graphic 203">
                      <a:extLst>
                        <a:ext uri="{FF2B5EF4-FFF2-40B4-BE49-F238E27FC236}">
                          <a16:creationId xmlns:a16="http://schemas.microsoft.com/office/drawing/2014/main" id="{80806C90-760F-47E4-8E10-C62FACDEDEA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11">
                      <a:extLst>
                        <a:ext uri="{96DAC541-7B7A-43D3-8B79-37D633B846F1}">
                          <asvg:svgBlip xmlns:asvg="http://schemas.microsoft.com/office/drawing/2016/SVG/main" r:embed="rId1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9390720" y="2611343"/>
                      <a:ext cx="342878" cy="315002"/>
                    </a:xfrm>
                    <a:prstGeom prst="rect">
                      <a:avLst/>
                    </a:prstGeom>
                  </p:spPr>
                </p:pic>
                <p:grpSp>
                  <p:nvGrpSpPr>
                    <p:cNvPr id="31" name="Group 30">
                      <a:extLst>
                        <a:ext uri="{FF2B5EF4-FFF2-40B4-BE49-F238E27FC236}">
                          <a16:creationId xmlns:a16="http://schemas.microsoft.com/office/drawing/2014/main" id="{85A9FF2F-EDA2-478E-9E77-12BEB930144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0072349" y="2616351"/>
                      <a:ext cx="688112" cy="304986"/>
                      <a:chOff x="10168809" y="2616351"/>
                      <a:chExt cx="688112" cy="304986"/>
                    </a:xfrm>
                  </p:grpSpPr>
                  <p:sp>
                    <p:nvSpPr>
                      <p:cNvPr id="186" name="Hexagon 185">
                        <a:extLst>
                          <a:ext uri="{FF2B5EF4-FFF2-40B4-BE49-F238E27FC236}">
                            <a16:creationId xmlns:a16="http://schemas.microsoft.com/office/drawing/2014/main" id="{9C45EB46-7743-1B4D-BBC4-7BD706001DD5}"/>
                          </a:ext>
                        </a:extLst>
                      </p:cNvPr>
                      <p:cNvSpPr>
                        <a:spLocks noChangeAspect="1"/>
                      </p:cNvSpPr>
                      <p:nvPr/>
                    </p:nvSpPr>
                    <p:spPr>
                      <a:xfrm>
                        <a:off x="10317355" y="2616351"/>
                        <a:ext cx="155448" cy="138197"/>
                      </a:xfrm>
                      <a:prstGeom prst="hexagon">
                        <a:avLst/>
                      </a:prstGeom>
                      <a:noFill/>
                      <a:ln w="12700">
                        <a:solidFill>
                          <a:schemeClr val="bg1"/>
                        </a:solidFill>
                      </a:ln>
                      <a:effectLst/>
                    </p:spPr>
                    <p:style>
                      <a:lnRef idx="1">
                        <a:schemeClr val="accent1"/>
                      </a:lnRef>
                      <a:fillRef idx="3">
                        <a:schemeClr val="accent1"/>
                      </a:fillRef>
                      <a:effectRef idx="2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60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Metropolis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88" name="Hexagon 187">
                        <a:extLst>
                          <a:ext uri="{FF2B5EF4-FFF2-40B4-BE49-F238E27FC236}">
                            <a16:creationId xmlns:a16="http://schemas.microsoft.com/office/drawing/2014/main" id="{A2A915C5-DBF2-2A48-B472-80DDBAF48890}"/>
                          </a:ext>
                        </a:extLst>
                      </p:cNvPr>
                      <p:cNvSpPr>
                        <a:spLocks noChangeAspect="1"/>
                      </p:cNvSpPr>
                      <p:nvPr/>
                    </p:nvSpPr>
                    <p:spPr>
                      <a:xfrm>
                        <a:off x="10317355" y="2783140"/>
                        <a:ext cx="155448" cy="138197"/>
                      </a:xfrm>
                      <a:prstGeom prst="hexagon">
                        <a:avLst/>
                      </a:prstGeom>
                      <a:noFill/>
                      <a:ln w="12700">
                        <a:solidFill>
                          <a:schemeClr val="bg1"/>
                        </a:solidFill>
                      </a:ln>
                      <a:effectLst/>
                    </p:spPr>
                    <p:style>
                      <a:lnRef idx="1">
                        <a:schemeClr val="accent1"/>
                      </a:lnRef>
                      <a:fillRef idx="3">
                        <a:schemeClr val="accent1"/>
                      </a:fillRef>
                      <a:effectRef idx="2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60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Metropolis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20" name="Hexagon 219">
                        <a:extLst>
                          <a:ext uri="{FF2B5EF4-FFF2-40B4-BE49-F238E27FC236}">
                            <a16:creationId xmlns:a16="http://schemas.microsoft.com/office/drawing/2014/main" id="{1DD442A2-F14E-714C-A08F-78B9FCF3DC4B}"/>
                          </a:ext>
                        </a:extLst>
                      </p:cNvPr>
                      <p:cNvSpPr>
                        <a:spLocks noChangeAspect="1"/>
                      </p:cNvSpPr>
                      <p:nvPr/>
                    </p:nvSpPr>
                    <p:spPr>
                      <a:xfrm>
                        <a:off x="10168809" y="2698426"/>
                        <a:ext cx="155448" cy="138197"/>
                      </a:xfrm>
                      <a:prstGeom prst="hexagon">
                        <a:avLst/>
                      </a:prstGeom>
                      <a:noFill/>
                      <a:ln w="12700">
                        <a:solidFill>
                          <a:schemeClr val="bg1"/>
                        </a:solidFill>
                      </a:ln>
                      <a:effectLst/>
                    </p:spPr>
                    <p:style>
                      <a:lnRef idx="1">
                        <a:schemeClr val="accent1"/>
                      </a:lnRef>
                      <a:fillRef idx="3">
                        <a:schemeClr val="accent1"/>
                      </a:fillRef>
                      <a:effectRef idx="2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60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Metropolis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1" name="Hexagon 90">
                        <a:extLst>
                          <a:ext uri="{FF2B5EF4-FFF2-40B4-BE49-F238E27FC236}">
                            <a16:creationId xmlns:a16="http://schemas.microsoft.com/office/drawing/2014/main" id="{73010642-E0FE-0947-8F91-10C6D1C058AB}"/>
                          </a:ext>
                        </a:extLst>
                      </p:cNvPr>
                      <p:cNvSpPr>
                        <a:spLocks noChangeAspect="1"/>
                      </p:cNvSpPr>
                      <p:nvPr/>
                    </p:nvSpPr>
                    <p:spPr>
                      <a:xfrm>
                        <a:off x="10473454" y="2698426"/>
                        <a:ext cx="155448" cy="138197"/>
                      </a:xfrm>
                      <a:prstGeom prst="hexagon">
                        <a:avLst/>
                      </a:prstGeom>
                      <a:noFill/>
                      <a:ln w="12700">
                        <a:solidFill>
                          <a:schemeClr val="bg1"/>
                        </a:solidFill>
                      </a:ln>
                      <a:effectLst/>
                    </p:spPr>
                    <p:style>
                      <a:lnRef idx="1">
                        <a:schemeClr val="accent1"/>
                      </a:lnRef>
                      <a:fillRef idx="3">
                        <a:schemeClr val="accent1"/>
                      </a:fillRef>
                      <a:effectRef idx="2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60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Metropolis"/>
                          <a:ea typeface="+mn-ea"/>
                          <a:cs typeface="+mn-cs"/>
                        </a:endParaRPr>
                      </a:p>
                    </p:txBody>
                  </p:sp>
                  <p:cxnSp>
                    <p:nvCxnSpPr>
                      <p:cNvPr id="300" name="Straight Connector 299">
                        <a:extLst>
                          <a:ext uri="{FF2B5EF4-FFF2-40B4-BE49-F238E27FC236}">
                            <a16:creationId xmlns:a16="http://schemas.microsoft.com/office/drawing/2014/main" id="{D46FD611-3711-4A9D-A99E-DBF31228B8B8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gray">
                      <a:xfrm flipV="1">
                        <a:off x="10674041" y="2767525"/>
                        <a:ext cx="182880" cy="153"/>
                      </a:xfrm>
                      <a:prstGeom prst="line">
                        <a:avLst/>
                      </a:prstGeom>
                      <a:ln w="12700">
                        <a:solidFill>
                          <a:schemeClr val="bg1"/>
                        </a:solidFill>
                        <a:miter lim="800000"/>
                        <a:tailEnd type="none"/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</p:grpSp>
          </p:grpSp>
        </p:grpSp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5097FBDB-5B55-4B7F-94A0-529E84262DFD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10583505" y="2595033"/>
              <a:ext cx="309885" cy="355552"/>
            </a:xfrm>
            <a:prstGeom prst="rect">
              <a:avLst/>
            </a:prstGeom>
          </p:spPr>
        </p:pic>
        <p:cxnSp>
          <p:nvCxnSpPr>
            <p:cNvPr id="146" name="Straight Arrow Connector 145">
              <a:extLst>
                <a:ext uri="{FF2B5EF4-FFF2-40B4-BE49-F238E27FC236}">
                  <a16:creationId xmlns:a16="http://schemas.microsoft.com/office/drawing/2014/main" id="{1A333A4A-30ED-4C6C-A97F-8D64EC1EA472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9850433" y="4895457"/>
              <a:ext cx="307027" cy="0"/>
            </a:xfrm>
            <a:prstGeom prst="straightConnector1">
              <a:avLst/>
            </a:prstGeom>
            <a:ln w="19050">
              <a:solidFill>
                <a:schemeClr val="bg1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39781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heme/theme1.xml><?xml version="1.0" encoding="utf-8"?>
<a:theme xmlns:a="http://schemas.openxmlformats.org/drawingml/2006/main" name="VMware_white_16x9">
  <a:themeElements>
    <a:clrScheme name="VMware 2019">
      <a:dk1>
        <a:srgbClr val="717074"/>
      </a:dk1>
      <a:lt1>
        <a:sysClr val="window" lastClr="FFFFFF"/>
      </a:lt1>
      <a:dk2>
        <a:srgbClr val="3F3F3F"/>
      </a:dk2>
      <a:lt2>
        <a:srgbClr val="F2F2F2"/>
      </a:lt2>
      <a:accent1>
        <a:srgbClr val="0091DA"/>
      </a:accent1>
      <a:accent2>
        <a:srgbClr val="1A428A"/>
      </a:accent2>
      <a:accent3>
        <a:srgbClr val="00C1D5"/>
      </a:accent3>
      <a:accent4>
        <a:srgbClr val="78BE20"/>
      </a:accent4>
      <a:accent5>
        <a:srgbClr val="7F35B2"/>
      </a:accent5>
      <a:accent6>
        <a:srgbClr val="387C2C"/>
      </a:accent6>
      <a:hlink>
        <a:srgbClr val="006990"/>
      </a:hlink>
      <a:folHlink>
        <a:srgbClr val="006990"/>
      </a:folHlink>
    </a:clrScheme>
    <a:fontScheme name="Custom 19">
      <a:majorFont>
        <a:latin typeface="Metropolis Light"/>
        <a:ea typeface=""/>
        <a:cs typeface=""/>
      </a:majorFont>
      <a:minorFont>
        <a:latin typeface="Metropoli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Aft>
            <a:spcPts val="600"/>
          </a:spcAft>
          <a:defRPr sz="120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 bwMode="gray">
        <a:ln w="25400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rtlCol="0">
        <a:spAutoFit/>
      </a:bodyPr>
      <a:lstStyle>
        <a:defPPr algn="l">
          <a:spcAft>
            <a:spcPts val="600"/>
          </a:spcAft>
          <a:defRPr sz="1200" smtClean="0"/>
        </a:defPPr>
      </a:lstStyle>
    </a:txDef>
  </a:objectDefaults>
  <a:extraClrSchemeLst/>
  <a:custClrLst>
    <a:custClr name="Orange">
      <a:srgbClr val="F8981D"/>
    </a:custClr>
    <a:custClr name="Red">
      <a:srgbClr val="820024"/>
    </a:custClr>
  </a:custClrLst>
  <a:extLst>
    <a:ext uri="{05A4C25C-085E-4340-85A3-A5531E510DB2}">
      <thm15:themeFamily xmlns:thm15="http://schemas.microsoft.com/office/thememl/2012/main" name="PPT_Light_2019" id="{3F52192F-E31A-8244-AA1F-F8B40B826589}" vid="{697BB071-162A-C249-A860-8A43AB4AA56C}"/>
    </a:ext>
  </a:extLst>
</a:theme>
</file>

<file path=ppt/theme/theme2.xml><?xml version="1.0" encoding="utf-8"?>
<a:theme xmlns:a="http://schemas.openxmlformats.org/drawingml/2006/main" name="9_VMware_white_16x9">
  <a:themeElements>
    <a:clrScheme name="VMware 2019">
      <a:dk1>
        <a:srgbClr val="717074"/>
      </a:dk1>
      <a:lt1>
        <a:sysClr val="window" lastClr="FFFFFF"/>
      </a:lt1>
      <a:dk2>
        <a:srgbClr val="3F3F3F"/>
      </a:dk2>
      <a:lt2>
        <a:srgbClr val="F2F2F2"/>
      </a:lt2>
      <a:accent1>
        <a:srgbClr val="0091DA"/>
      </a:accent1>
      <a:accent2>
        <a:srgbClr val="1A428A"/>
      </a:accent2>
      <a:accent3>
        <a:srgbClr val="00C1D5"/>
      </a:accent3>
      <a:accent4>
        <a:srgbClr val="78BE20"/>
      </a:accent4>
      <a:accent5>
        <a:srgbClr val="7F35B2"/>
      </a:accent5>
      <a:accent6>
        <a:srgbClr val="387C2C"/>
      </a:accent6>
      <a:hlink>
        <a:srgbClr val="006990"/>
      </a:hlink>
      <a:folHlink>
        <a:srgbClr val="006990"/>
      </a:folHlink>
    </a:clrScheme>
    <a:fontScheme name="Custom 19">
      <a:majorFont>
        <a:latin typeface="Metropolis Light"/>
        <a:ea typeface=""/>
        <a:cs typeface=""/>
      </a:majorFont>
      <a:minorFont>
        <a:latin typeface="Metropoli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Aft>
            <a:spcPts val="600"/>
          </a:spcAft>
          <a:defRPr sz="120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 bwMode="gray">
        <a:ln w="25400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rtlCol="0">
        <a:spAutoFit/>
      </a:bodyPr>
      <a:lstStyle>
        <a:defPPr algn="l">
          <a:spcAft>
            <a:spcPts val="600"/>
          </a:spcAft>
          <a:defRPr sz="1200" smtClean="0"/>
        </a:defPPr>
      </a:lstStyle>
    </a:txDef>
  </a:objectDefaults>
  <a:extraClrSchemeLst/>
  <a:custClrLst>
    <a:custClr name="Orange">
      <a:srgbClr val="F8981D"/>
    </a:custClr>
    <a:custClr name="Red">
      <a:srgbClr val="820024"/>
    </a:custClr>
  </a:custClrLst>
  <a:extLst>
    <a:ext uri="{05A4C25C-085E-4340-85A3-A5531E510DB2}">
      <thm15:themeFamily xmlns:thm15="http://schemas.microsoft.com/office/thememl/2012/main" name="VMWR_CorpTempRefresh_Light_07_21_hr.potx" id="{05DAF37D-AD21-46CA-8327-AA29D585B2C3}" vid="{AA349161-A6C3-488A-A8B7-7A2D5F49158C}"/>
    </a:ext>
  </a:extLst>
</a:theme>
</file>

<file path=ppt/theme/theme3.xml><?xml version="1.0" encoding="utf-8"?>
<a:theme xmlns:a="http://schemas.openxmlformats.org/drawingml/2006/main" name="12_VMware_white_16x9">
  <a:themeElements>
    <a:clrScheme name="VMware 2019">
      <a:dk1>
        <a:srgbClr val="717074"/>
      </a:dk1>
      <a:lt1>
        <a:sysClr val="window" lastClr="FFFFFF"/>
      </a:lt1>
      <a:dk2>
        <a:srgbClr val="3F3F3F"/>
      </a:dk2>
      <a:lt2>
        <a:srgbClr val="F2F2F2"/>
      </a:lt2>
      <a:accent1>
        <a:srgbClr val="0091DA"/>
      </a:accent1>
      <a:accent2>
        <a:srgbClr val="1A428A"/>
      </a:accent2>
      <a:accent3>
        <a:srgbClr val="00C1D5"/>
      </a:accent3>
      <a:accent4>
        <a:srgbClr val="78BE20"/>
      </a:accent4>
      <a:accent5>
        <a:srgbClr val="7F35B2"/>
      </a:accent5>
      <a:accent6>
        <a:srgbClr val="387C2C"/>
      </a:accent6>
      <a:hlink>
        <a:srgbClr val="006990"/>
      </a:hlink>
      <a:folHlink>
        <a:srgbClr val="006990"/>
      </a:folHlink>
    </a:clrScheme>
    <a:fontScheme name="Custom 19">
      <a:majorFont>
        <a:latin typeface="Metropolis Light"/>
        <a:ea typeface=""/>
        <a:cs typeface=""/>
      </a:majorFont>
      <a:minorFont>
        <a:latin typeface="Metropoli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Aft>
            <a:spcPts val="600"/>
          </a:spcAft>
          <a:defRPr sz="120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 bwMode="gray">
        <a:ln w="25400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rtlCol="0">
        <a:spAutoFit/>
      </a:bodyPr>
      <a:lstStyle>
        <a:defPPr algn="l">
          <a:spcAft>
            <a:spcPts val="600"/>
          </a:spcAft>
          <a:defRPr sz="1200" smtClean="0"/>
        </a:defPPr>
      </a:lstStyle>
    </a:txDef>
  </a:objectDefaults>
  <a:extraClrSchemeLst/>
  <a:custClrLst>
    <a:custClr name="Orange">
      <a:srgbClr val="F8981D"/>
    </a:custClr>
    <a:custClr name="Red">
      <a:srgbClr val="820024"/>
    </a:custClr>
  </a:custClrLst>
  <a:extLst>
    <a:ext uri="{05A4C25C-085E-4340-85A3-A5531E510DB2}">
      <thm15:themeFamily xmlns:thm15="http://schemas.microsoft.com/office/thememl/2012/main" name="VMWR_CorpTempRefresh_Light_07_21_hr.potx" id="{05DAF37D-AD21-46CA-8327-AA29D585B2C3}" vid="{AA349161-A6C3-488A-A8B7-7A2D5F49158C}"/>
    </a:ext>
  </a:extLst>
</a:theme>
</file>

<file path=ppt/theme/theme4.xml><?xml version="1.0" encoding="utf-8"?>
<a:theme xmlns:a="http://schemas.openxmlformats.org/drawingml/2006/main" name="5_VMware_white_16x9">
  <a:themeElements>
    <a:clrScheme name="VMware 2019">
      <a:dk1>
        <a:srgbClr val="717074"/>
      </a:dk1>
      <a:lt1>
        <a:sysClr val="window" lastClr="FFFFFF"/>
      </a:lt1>
      <a:dk2>
        <a:srgbClr val="3F3F3F"/>
      </a:dk2>
      <a:lt2>
        <a:srgbClr val="F2F2F2"/>
      </a:lt2>
      <a:accent1>
        <a:srgbClr val="0091DA"/>
      </a:accent1>
      <a:accent2>
        <a:srgbClr val="1A428A"/>
      </a:accent2>
      <a:accent3>
        <a:srgbClr val="00C1D5"/>
      </a:accent3>
      <a:accent4>
        <a:srgbClr val="78BE20"/>
      </a:accent4>
      <a:accent5>
        <a:srgbClr val="7F35B2"/>
      </a:accent5>
      <a:accent6>
        <a:srgbClr val="387C2C"/>
      </a:accent6>
      <a:hlink>
        <a:srgbClr val="006990"/>
      </a:hlink>
      <a:folHlink>
        <a:srgbClr val="006990"/>
      </a:folHlink>
    </a:clrScheme>
    <a:fontScheme name="Custom 19">
      <a:majorFont>
        <a:latin typeface="Metropolis Light"/>
        <a:ea typeface=""/>
        <a:cs typeface=""/>
      </a:majorFont>
      <a:minorFont>
        <a:latin typeface="Metropoli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Aft>
            <a:spcPts val="600"/>
          </a:spcAft>
          <a:defRPr sz="120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 bwMode="gray">
        <a:ln w="25400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rtlCol="0">
        <a:spAutoFit/>
      </a:bodyPr>
      <a:lstStyle>
        <a:defPPr algn="l">
          <a:spcAft>
            <a:spcPts val="600"/>
          </a:spcAft>
          <a:defRPr sz="1200" smtClean="0"/>
        </a:defPPr>
      </a:lstStyle>
    </a:txDef>
  </a:objectDefaults>
  <a:extraClrSchemeLst/>
  <a:custClrLst>
    <a:custClr name="Orange">
      <a:srgbClr val="F8981D"/>
    </a:custClr>
    <a:custClr name="Red">
      <a:srgbClr val="820024"/>
    </a:custClr>
  </a:custClrLst>
  <a:extLst>
    <a:ext uri="{05A4C25C-085E-4340-85A3-A5531E510DB2}">
      <thm15:themeFamily xmlns:thm15="http://schemas.microsoft.com/office/thememl/2012/main" name="VMWR_CorpTempRefresh_Light_07_21_hr.potx" id="{05DAF37D-AD21-46CA-8327-AA29D585B2C3}" vid="{AA349161-A6C3-488A-A8B7-7A2D5F49158C}"/>
    </a:ext>
  </a:extLst>
</a:theme>
</file>

<file path=ppt/theme/theme5.xml><?xml version="1.0" encoding="utf-8"?>
<a:theme xmlns:a="http://schemas.openxmlformats.org/drawingml/2006/main" name="Office Theme">
  <a:themeElements>
    <a:clrScheme name="VMware">
      <a:dk1>
        <a:srgbClr val="717074"/>
      </a:dk1>
      <a:lt1>
        <a:sysClr val="window" lastClr="FFFFFF"/>
      </a:lt1>
      <a:dk2>
        <a:srgbClr val="000000"/>
      </a:dk2>
      <a:lt2>
        <a:srgbClr val="C6C6C8"/>
      </a:lt2>
      <a:accent1>
        <a:srgbClr val="0095D3"/>
      </a:accent1>
      <a:accent2>
        <a:srgbClr val="89CBDF"/>
      </a:accent2>
      <a:accent3>
        <a:srgbClr val="006990"/>
      </a:accent3>
      <a:accent4>
        <a:srgbClr val="6DB33F"/>
      </a:accent4>
      <a:accent5>
        <a:srgbClr val="C2CD23"/>
      </a:accent5>
      <a:accent6>
        <a:srgbClr val="387C2C"/>
      </a:accent6>
      <a:hlink>
        <a:srgbClr val="0095D3"/>
      </a:hlink>
      <a:folHlink>
        <a:srgbClr val="89CBD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VMware">
      <a:dk1>
        <a:srgbClr val="717074"/>
      </a:dk1>
      <a:lt1>
        <a:sysClr val="window" lastClr="FFFFFF"/>
      </a:lt1>
      <a:dk2>
        <a:srgbClr val="000000"/>
      </a:dk2>
      <a:lt2>
        <a:srgbClr val="C6C6C8"/>
      </a:lt2>
      <a:accent1>
        <a:srgbClr val="0095D3"/>
      </a:accent1>
      <a:accent2>
        <a:srgbClr val="89CBDF"/>
      </a:accent2>
      <a:accent3>
        <a:srgbClr val="006990"/>
      </a:accent3>
      <a:accent4>
        <a:srgbClr val="6DB33F"/>
      </a:accent4>
      <a:accent5>
        <a:srgbClr val="C2CD23"/>
      </a:accent5>
      <a:accent6>
        <a:srgbClr val="387C2C"/>
      </a:accent6>
      <a:hlink>
        <a:srgbClr val="0095D3"/>
      </a:hlink>
      <a:folHlink>
        <a:srgbClr val="89CBD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  <Gatekeeper_x0020_Group xmlns="5402c023-7eaf-42f3-a6e5-1b1ad999216a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91600862E7BF749849779075B63B2CE" ma:contentTypeVersion="2" ma:contentTypeDescription="Create a new document." ma:contentTypeScope="" ma:versionID="a5264bf4663ffdf9da17ecb49e7dae1a">
  <xsd:schema xmlns:xsd="http://www.w3.org/2001/XMLSchema" xmlns:xs="http://www.w3.org/2001/XMLSchema" xmlns:p="http://schemas.microsoft.com/office/2006/metadata/properties" xmlns:ns1="http://schemas.microsoft.com/sharepoint/v3" xmlns:ns2="5402c023-7eaf-42f3-a6e5-1b1ad999216a" targetNamespace="http://schemas.microsoft.com/office/2006/metadata/properties" ma:root="true" ma:fieldsID="462a0a71a9fdb7e71b6d8477fc0e46d1" ns1:_="" ns2:_="">
    <xsd:import namespace="http://schemas.microsoft.com/sharepoint/v3"/>
    <xsd:import namespace="5402c023-7eaf-42f3-a6e5-1b1ad999216a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Gatekeeper_x0020_Group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402c023-7eaf-42f3-a6e5-1b1ad999216a" elementFormDefault="qualified">
    <xsd:import namespace="http://schemas.microsoft.com/office/2006/documentManagement/types"/>
    <xsd:import namespace="http://schemas.microsoft.com/office/infopath/2007/PartnerControls"/>
    <xsd:element name="Gatekeeper_x0020_Group" ma:index="10" nillable="true" ma:displayName="Gatekeeper Group" ma:format="RadioButtons" ma:internalName="Gatekeeper_x0020_Group">
      <xsd:simpleType>
        <xsd:restriction base="dms:Choice">
          <xsd:enumeration value="​Benefits: Americas"/>
          <xsd:enumeration value="​Benefits: APJ"/>
          <xsd:enumeration value="​Benefits: EMEA"/>
          <xsd:enumeration value="​Compensation"/>
          <xsd:enumeration value="​Employee Referral"/>
          <xsd:enumeration value="​Foundation"/>
          <xsd:enumeration value="​Global Assignments"/>
          <xsd:enumeration value="​Global People Development"/>
          <xsd:enumeration value="​HR Global Business Enablement"/>
          <xsd:enumeration value="​HRIS"/>
          <xsd:enumeration value="​HR Operations"/>
          <xsd:enumeration value="​Staffing"/>
          <xsd:enumeration value="​University Talent"/>
          <xsd:enumeration value="​VMinclusion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FE5938D-4474-40CE-825E-F3DD3481239C}">
  <ds:schemaRefs>
    <ds:schemaRef ds:uri="http://purl.org/dc/dcmitype/"/>
    <ds:schemaRef ds:uri="http://www.w3.org/XML/1998/namespace"/>
    <ds:schemaRef ds:uri="http://schemas.microsoft.com/office/2006/metadata/properties"/>
    <ds:schemaRef ds:uri="5402c023-7eaf-42f3-a6e5-1b1ad999216a"/>
    <ds:schemaRef ds:uri="http://schemas.microsoft.com/office/2006/documentManagement/types"/>
    <ds:schemaRef ds:uri="http://schemas.microsoft.com/sharepoint/v3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2387FEB9-36F9-410A-A668-2791599E1A1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507A20D-988B-4995-ADAB-5004BABCBA2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5402c023-7eaf-42f3-a6e5-1b1ad999216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VMware_white_16x9</Template>
  <TotalTime>0</TotalTime>
  <Words>183</Words>
  <Application>Microsoft Macintosh PowerPoint</Application>
  <PresentationFormat>Custom</PresentationFormat>
  <Paragraphs>75</Paragraphs>
  <Slides>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4" baseType="lpstr">
      <vt:lpstr>Arial</vt:lpstr>
      <vt:lpstr>Camphor Std</vt:lpstr>
      <vt:lpstr>Metropolis</vt:lpstr>
      <vt:lpstr>Metropolis Light</vt:lpstr>
      <vt:lpstr>Open Sans</vt:lpstr>
      <vt:lpstr>VMware_white_16x9</vt:lpstr>
      <vt:lpstr>9_VMware_white_16x9</vt:lpstr>
      <vt:lpstr>12_VMware_white_16x9</vt:lpstr>
      <vt:lpstr>5_VMware_white_16x9</vt:lpstr>
      <vt:lpstr>think-cell Slide</vt:lpstr>
      <vt:lpstr>VMware Tanzu Service Mesh</vt:lpstr>
      <vt:lpstr>Microservices Before Service Mesh</vt:lpstr>
      <vt:lpstr>Extend Open Source Service Mesh for Enterprises</vt:lpstr>
      <vt:lpstr>Tanzu Service Mesh Use Cas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02-27T19:53:11Z</dcterms:created>
  <dcterms:modified xsi:type="dcterms:W3CDTF">2020-05-07T03:07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91600862E7BF749849779075B63B2CE</vt:lpwstr>
  </property>
</Properties>
</file>